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1.xml" ContentType="application/vnd.openxmlformats-officedocument.themeOverrid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2.xml" ContentType="application/vnd.openxmlformats-officedocument.themeOverrid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Override3.xml" ContentType="application/vnd.openxmlformats-officedocument.themeOverrid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Override4.xml" ContentType="application/vnd.openxmlformats-officedocument.themeOverrid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2" r:id="rId5"/>
    <p:sldMasterId id="2147483684" r:id="rId6"/>
    <p:sldMasterId id="2147483697" r:id="rId7"/>
    <p:sldMasterId id="2147483726" r:id="rId8"/>
  </p:sldMasterIdLst>
  <p:notesMasterIdLst>
    <p:notesMasterId r:id="rId35"/>
  </p:notesMasterIdLst>
  <p:handoutMasterIdLst>
    <p:handoutMasterId r:id="rId36"/>
  </p:handoutMasterIdLst>
  <p:sldIdLst>
    <p:sldId id="638" r:id="rId9"/>
    <p:sldId id="652" r:id="rId10"/>
    <p:sldId id="653" r:id="rId11"/>
    <p:sldId id="675" r:id="rId12"/>
    <p:sldId id="667" r:id="rId13"/>
    <p:sldId id="672" r:id="rId14"/>
    <p:sldId id="673" r:id="rId15"/>
    <p:sldId id="674" r:id="rId16"/>
    <p:sldId id="654" r:id="rId17"/>
    <p:sldId id="649" r:id="rId18"/>
    <p:sldId id="650" r:id="rId19"/>
    <p:sldId id="651" r:id="rId20"/>
    <p:sldId id="636" r:id="rId21"/>
    <p:sldId id="676" r:id="rId22"/>
    <p:sldId id="677" r:id="rId23"/>
    <p:sldId id="678" r:id="rId24"/>
    <p:sldId id="679" r:id="rId25"/>
    <p:sldId id="680" r:id="rId26"/>
    <p:sldId id="681" r:id="rId27"/>
    <p:sldId id="682" r:id="rId28"/>
    <p:sldId id="683" r:id="rId29"/>
    <p:sldId id="663" r:id="rId30"/>
    <p:sldId id="664" r:id="rId31"/>
    <p:sldId id="665" r:id="rId32"/>
    <p:sldId id="661" r:id="rId33"/>
    <p:sldId id="666" r:id="rId34"/>
  </p:sldIdLst>
  <p:sldSz cx="10188575" cy="7667625"/>
  <p:notesSz cx="6797675" cy="9926638"/>
  <p:custDataLst>
    <p:tags r:id="rId37"/>
  </p:custDataLst>
  <p:defaultTextStyle>
    <a:defPPr>
      <a:defRPr lang="fr-FR"/>
    </a:defPPr>
    <a:lvl1pPr marL="0" algn="l" defTabSz="1020288" rtl="0" eaLnBrk="1" latinLnBrk="0" hangingPunct="1">
      <a:defRPr sz="2008" kern="1200">
        <a:solidFill>
          <a:schemeClr val="tx1"/>
        </a:solidFill>
        <a:latin typeface="+mn-lt"/>
        <a:ea typeface="+mn-ea"/>
        <a:cs typeface="+mn-cs"/>
      </a:defRPr>
    </a:lvl1pPr>
    <a:lvl2pPr marL="510144" algn="l" defTabSz="1020288" rtl="0" eaLnBrk="1" latinLnBrk="0" hangingPunct="1">
      <a:defRPr sz="2008" kern="1200">
        <a:solidFill>
          <a:schemeClr val="tx1"/>
        </a:solidFill>
        <a:latin typeface="+mn-lt"/>
        <a:ea typeface="+mn-ea"/>
        <a:cs typeface="+mn-cs"/>
      </a:defRPr>
    </a:lvl2pPr>
    <a:lvl3pPr marL="1020288" algn="l" defTabSz="1020288" rtl="0" eaLnBrk="1" latinLnBrk="0" hangingPunct="1">
      <a:defRPr sz="2008" kern="1200">
        <a:solidFill>
          <a:schemeClr val="tx1"/>
        </a:solidFill>
        <a:latin typeface="+mn-lt"/>
        <a:ea typeface="+mn-ea"/>
        <a:cs typeface="+mn-cs"/>
      </a:defRPr>
    </a:lvl3pPr>
    <a:lvl4pPr marL="1530431" algn="l" defTabSz="1020288" rtl="0" eaLnBrk="1" latinLnBrk="0" hangingPunct="1">
      <a:defRPr sz="2008" kern="1200">
        <a:solidFill>
          <a:schemeClr val="tx1"/>
        </a:solidFill>
        <a:latin typeface="+mn-lt"/>
        <a:ea typeface="+mn-ea"/>
        <a:cs typeface="+mn-cs"/>
      </a:defRPr>
    </a:lvl4pPr>
    <a:lvl5pPr marL="2040575" algn="l" defTabSz="1020288" rtl="0" eaLnBrk="1" latinLnBrk="0" hangingPunct="1">
      <a:defRPr sz="2008" kern="1200">
        <a:solidFill>
          <a:schemeClr val="tx1"/>
        </a:solidFill>
        <a:latin typeface="+mn-lt"/>
        <a:ea typeface="+mn-ea"/>
        <a:cs typeface="+mn-cs"/>
      </a:defRPr>
    </a:lvl5pPr>
    <a:lvl6pPr marL="2550719" algn="l" defTabSz="1020288" rtl="0" eaLnBrk="1" latinLnBrk="0" hangingPunct="1">
      <a:defRPr sz="2008" kern="1200">
        <a:solidFill>
          <a:schemeClr val="tx1"/>
        </a:solidFill>
        <a:latin typeface="+mn-lt"/>
        <a:ea typeface="+mn-ea"/>
        <a:cs typeface="+mn-cs"/>
      </a:defRPr>
    </a:lvl6pPr>
    <a:lvl7pPr marL="3060863" algn="l" defTabSz="1020288" rtl="0" eaLnBrk="1" latinLnBrk="0" hangingPunct="1">
      <a:defRPr sz="2008" kern="1200">
        <a:solidFill>
          <a:schemeClr val="tx1"/>
        </a:solidFill>
        <a:latin typeface="+mn-lt"/>
        <a:ea typeface="+mn-ea"/>
        <a:cs typeface="+mn-cs"/>
      </a:defRPr>
    </a:lvl7pPr>
    <a:lvl8pPr marL="3571006" algn="l" defTabSz="1020288" rtl="0" eaLnBrk="1" latinLnBrk="0" hangingPunct="1">
      <a:defRPr sz="2008" kern="1200">
        <a:solidFill>
          <a:schemeClr val="tx1"/>
        </a:solidFill>
        <a:latin typeface="+mn-lt"/>
        <a:ea typeface="+mn-ea"/>
        <a:cs typeface="+mn-cs"/>
      </a:defRPr>
    </a:lvl8pPr>
    <a:lvl9pPr marL="4081150" algn="l" defTabSz="1020288" rtl="0" eaLnBrk="1" latinLnBrk="0" hangingPunct="1">
      <a:defRPr sz="2008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92" userDrawn="1">
          <p15:clr>
            <a:srgbClr val="A4A3A4"/>
          </p15:clr>
        </p15:guide>
        <p15:guide id="2" pos="320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ice ORENES" initials="AO" lastIdx="3" clrIdx="0">
    <p:extLst>
      <p:ext uri="{19B8F6BF-5375-455C-9EA6-DF929625EA0E}">
        <p15:presenceInfo xmlns:p15="http://schemas.microsoft.com/office/powerpoint/2012/main" userId="S-1-5-21-2052111302-1844823847-839522115-11340" providerId="AD"/>
      </p:ext>
    </p:extLst>
  </p:cmAuthor>
  <p:cmAuthor id="2" name="Charles-Henri BESCOND" initials="CB" lastIdx="5" clrIdx="1">
    <p:extLst>
      <p:ext uri="{19B8F6BF-5375-455C-9EA6-DF929625EA0E}">
        <p15:presenceInfo xmlns:p15="http://schemas.microsoft.com/office/powerpoint/2012/main" userId="S::chbescond@yce-partners.fr::3a573ba6-c020-4186-b45b-a7d91a6fd8d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DEEF"/>
    <a:srgbClr val="EAEFF7"/>
    <a:srgbClr val="EBF1E9"/>
    <a:srgbClr val="B3B3B3"/>
    <a:srgbClr val="D9D9D9"/>
    <a:srgbClr val="C6C6C6"/>
    <a:srgbClr val="8D8D8D"/>
    <a:srgbClr val="7D7D7D"/>
    <a:srgbClr val="00B0E6"/>
    <a:srgbClr val="8F96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C2E0F1E-9178-B9FA-FA4E-82A34E83CA35}" v="61" dt="2020-09-02T15:04:20.022"/>
    <p1510:client id="{8B2524A5-8BD8-408C-540D-9A62B669593E}" v="7" dt="2020-09-02T14:58:37.992"/>
    <p1510:client id="{A2551A6A-38F1-45A6-3F48-CCB6BDDCD51F}" v="78" dt="2020-09-01T12:45:56.606"/>
    <p1510:client id="{AA5B43E1-71EA-42BC-6C08-A0C452206F01}" v="41" dt="2020-09-02T13:57:55.147"/>
    <p1510:client id="{C921CA8A-9FCD-3D63-BC41-B8F6C42FC121}" v="22" dt="2020-09-02T15:01:01.161"/>
    <p1510:client id="{CE10D425-B409-3265-E762-5A28640D0FF7}" v="179" dt="2020-09-01T13:21:33.694"/>
    <p1510:client id="{E511B617-3007-A2B8-F0C9-5008CB0EAEC1}" v="55" dt="2020-09-02T14:53:11.322"/>
    <p1510:client id="{F827C025-55A5-4A98-18B6-1ED6AD866C1B}" v="61" dt="2020-09-02T13:46:24.72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2" autoAdjust="0"/>
    <p:restoredTop sz="94660"/>
  </p:normalViewPr>
  <p:slideViewPr>
    <p:cSldViewPr snapToGrid="0">
      <p:cViewPr varScale="1">
        <p:scale>
          <a:sx n="74" d="100"/>
          <a:sy n="74" d="100"/>
        </p:scale>
        <p:origin x="1474" y="82"/>
      </p:cViewPr>
      <p:guideLst>
        <p:guide orient="horz" pos="2392"/>
        <p:guide pos="320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presProps" Target="presProps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tableStyles" Target="tableStyles.xml"/><Relationship Id="rId50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handoutMaster" Target="handoutMasters/handoutMaster1.xml"/><Relationship Id="rId49" Type="http://schemas.microsoft.com/office/2015/10/relationships/revisionInfo" Target="revisionInfo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notesMaster" Target="notesMasters/notesMaster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ice ORENES" userId="S::aorenes@yce-partners.fr::af8f78ac-0813-4af6-9c1c-5c08261de0ce" providerId="AD" clId="Web-{8B2524A5-8BD8-408C-540D-9A62B669593E}"/>
    <pc:docChg chg="modSld">
      <pc:chgData name="Alice ORENES" userId="S::aorenes@yce-partners.fr::af8f78ac-0813-4af6-9c1c-5c08261de0ce" providerId="AD" clId="Web-{8B2524A5-8BD8-408C-540D-9A62B669593E}" dt="2020-09-02T14:58:27.320" v="3"/>
      <pc:docMkLst>
        <pc:docMk/>
      </pc:docMkLst>
      <pc:sldChg chg="modSp">
        <pc:chgData name="Alice ORENES" userId="S::aorenes@yce-partners.fr::af8f78ac-0813-4af6-9c1c-5c08261de0ce" providerId="AD" clId="Web-{8B2524A5-8BD8-408C-540D-9A62B669593E}" dt="2020-09-02T14:58:27.320" v="3"/>
        <pc:sldMkLst>
          <pc:docMk/>
          <pc:sldMk cId="1009816331" sldId="623"/>
        </pc:sldMkLst>
        <pc:graphicFrameChg chg="mod modGraphic">
          <ac:chgData name="Alice ORENES" userId="S::aorenes@yce-partners.fr::af8f78ac-0813-4af6-9c1c-5c08261de0ce" providerId="AD" clId="Web-{8B2524A5-8BD8-408C-540D-9A62B669593E}" dt="2020-09-02T14:58:27.320" v="3"/>
          <ac:graphicFrameMkLst>
            <pc:docMk/>
            <pc:sldMk cId="1009816331" sldId="623"/>
            <ac:graphicFrameMk id="8" creationId="{00000000-0000-0000-0000-000000000000}"/>
          </ac:graphicFrameMkLst>
        </pc:graphicFrameChg>
      </pc:sldChg>
    </pc:docChg>
  </pc:docChgLst>
  <pc:docChgLst>
    <pc:chgData name="Lise BOUTIN" userId="S::lboutin_norsys.fr#ext#@ycepartnersfr.onmicrosoft.com::da1c1c35-06ba-4a03-9d8a-f6331282ec8c" providerId="AD" clId="Web-{E511B617-3007-A2B8-F0C9-5008CB0EAEC1}"/>
    <pc:docChg chg="modSld">
      <pc:chgData name="Lise BOUTIN" userId="S::lboutin_norsys.fr#ext#@ycepartnersfr.onmicrosoft.com::da1c1c35-06ba-4a03-9d8a-f6331282ec8c" providerId="AD" clId="Web-{E511B617-3007-A2B8-F0C9-5008CB0EAEC1}" dt="2020-09-02T14:53:11.322" v="51" actId="20577"/>
      <pc:docMkLst>
        <pc:docMk/>
      </pc:docMkLst>
      <pc:sldChg chg="delSp modSp">
        <pc:chgData name="Lise BOUTIN" userId="S::lboutin_norsys.fr#ext#@ycepartnersfr.onmicrosoft.com::da1c1c35-06ba-4a03-9d8a-f6331282ec8c" providerId="AD" clId="Web-{E511B617-3007-A2B8-F0C9-5008CB0EAEC1}" dt="2020-09-02T14:53:11.322" v="51" actId="20577"/>
        <pc:sldMkLst>
          <pc:docMk/>
          <pc:sldMk cId="3268191873" sldId="612"/>
        </pc:sldMkLst>
        <pc:spChg chg="mod">
          <ac:chgData name="Lise BOUTIN" userId="S::lboutin_norsys.fr#ext#@ycepartnersfr.onmicrosoft.com::da1c1c35-06ba-4a03-9d8a-f6331282ec8c" providerId="AD" clId="Web-{E511B617-3007-A2B8-F0C9-5008CB0EAEC1}" dt="2020-09-02T14:53:11.322" v="51" actId="20577"/>
          <ac:spMkLst>
            <pc:docMk/>
            <pc:sldMk cId="3268191873" sldId="612"/>
            <ac:spMk id="10" creationId="{00000000-0000-0000-0000-000000000000}"/>
          </ac:spMkLst>
        </pc:spChg>
        <pc:spChg chg="del mod">
          <ac:chgData name="Lise BOUTIN" userId="S::lboutin_norsys.fr#ext#@ycepartnersfr.onmicrosoft.com::da1c1c35-06ba-4a03-9d8a-f6331282ec8c" providerId="AD" clId="Web-{E511B617-3007-A2B8-F0C9-5008CB0EAEC1}" dt="2020-09-02T14:53:05.978" v="50"/>
          <ac:spMkLst>
            <pc:docMk/>
            <pc:sldMk cId="3268191873" sldId="612"/>
            <ac:spMk id="11" creationId="{00000000-0000-0000-0000-000000000000}"/>
          </ac:spMkLst>
        </pc:spChg>
      </pc:sldChg>
      <pc:sldChg chg="delSp">
        <pc:chgData name="Lise BOUTIN" userId="S::lboutin_norsys.fr#ext#@ycepartnersfr.onmicrosoft.com::da1c1c35-06ba-4a03-9d8a-f6331282ec8c" providerId="AD" clId="Web-{E511B617-3007-A2B8-F0C9-5008CB0EAEC1}" dt="2020-09-02T14:52:26.774" v="9"/>
        <pc:sldMkLst>
          <pc:docMk/>
          <pc:sldMk cId="3868593221" sldId="620"/>
        </pc:sldMkLst>
        <pc:spChg chg="del">
          <ac:chgData name="Lise BOUTIN" userId="S::lboutin_norsys.fr#ext#@ycepartnersfr.onmicrosoft.com::da1c1c35-06ba-4a03-9d8a-f6331282ec8c" providerId="AD" clId="Web-{E511B617-3007-A2B8-F0C9-5008CB0EAEC1}" dt="2020-09-02T14:52:26.774" v="9"/>
          <ac:spMkLst>
            <pc:docMk/>
            <pc:sldMk cId="3868593221" sldId="620"/>
            <ac:spMk id="11" creationId="{00000000-0000-0000-0000-000000000000}"/>
          </ac:spMkLst>
        </pc:spChg>
      </pc:sldChg>
      <pc:sldChg chg="delSp modSp">
        <pc:chgData name="Lise BOUTIN" userId="S::lboutin_norsys.fr#ext#@ycepartnersfr.onmicrosoft.com::da1c1c35-06ba-4a03-9d8a-f6331282ec8c" providerId="AD" clId="Web-{E511B617-3007-A2B8-F0C9-5008CB0EAEC1}" dt="2020-09-02T14:52:16.118" v="7"/>
        <pc:sldMkLst>
          <pc:docMk/>
          <pc:sldMk cId="987256764" sldId="626"/>
        </pc:sldMkLst>
        <pc:spChg chg="del">
          <ac:chgData name="Lise BOUTIN" userId="S::lboutin_norsys.fr#ext#@ycepartnersfr.onmicrosoft.com::da1c1c35-06ba-4a03-9d8a-f6331282ec8c" providerId="AD" clId="Web-{E511B617-3007-A2B8-F0C9-5008CB0EAEC1}" dt="2020-09-02T14:52:16.118" v="7"/>
          <ac:spMkLst>
            <pc:docMk/>
            <pc:sldMk cId="987256764" sldId="626"/>
            <ac:spMk id="8" creationId="{00000000-0000-0000-0000-000000000000}"/>
          </ac:spMkLst>
        </pc:spChg>
        <pc:spChg chg="mod">
          <ac:chgData name="Lise BOUTIN" userId="S::lboutin_norsys.fr#ext#@ycepartnersfr.onmicrosoft.com::da1c1c35-06ba-4a03-9d8a-f6331282ec8c" providerId="AD" clId="Web-{E511B617-3007-A2B8-F0C9-5008CB0EAEC1}" dt="2020-09-02T14:52:11.883" v="6"/>
          <ac:spMkLst>
            <pc:docMk/>
            <pc:sldMk cId="987256764" sldId="626"/>
            <ac:spMk id="10" creationId="{00000000-0000-0000-0000-000000000000}"/>
          </ac:spMkLst>
        </pc:spChg>
      </pc:sldChg>
      <pc:sldChg chg="delSp">
        <pc:chgData name="Lise BOUTIN" userId="S::lboutin_norsys.fr#ext#@ycepartnersfr.onmicrosoft.com::da1c1c35-06ba-4a03-9d8a-f6331282ec8c" providerId="AD" clId="Web-{E511B617-3007-A2B8-F0C9-5008CB0EAEC1}" dt="2020-09-02T14:52:20.118" v="8"/>
        <pc:sldMkLst>
          <pc:docMk/>
          <pc:sldMk cId="3765764838" sldId="627"/>
        </pc:sldMkLst>
        <pc:spChg chg="del">
          <ac:chgData name="Lise BOUTIN" userId="S::lboutin_norsys.fr#ext#@ycepartnersfr.onmicrosoft.com::da1c1c35-06ba-4a03-9d8a-f6331282ec8c" providerId="AD" clId="Web-{E511B617-3007-A2B8-F0C9-5008CB0EAEC1}" dt="2020-09-02T14:52:20.118" v="8"/>
          <ac:spMkLst>
            <pc:docMk/>
            <pc:sldMk cId="3765764838" sldId="627"/>
            <ac:spMk id="8" creationId="{00000000-0000-0000-0000-000000000000}"/>
          </ac:spMkLst>
        </pc:spChg>
      </pc:sldChg>
    </pc:docChg>
  </pc:docChgLst>
  <pc:docChgLst>
    <pc:chgData name="Bertille RAGOT" userId="S::bragot@yce-partners.fr::eedca83a-220b-4f92-9811-6933ede217d7" providerId="AD" clId="Web-{A2551A6A-38F1-45A6-3F48-CCB6BDDCD51F}"/>
    <pc:docChg chg="modSld">
      <pc:chgData name="Bertille RAGOT" userId="S::bragot@yce-partners.fr::eedca83a-220b-4f92-9811-6933ede217d7" providerId="AD" clId="Web-{A2551A6A-38F1-45A6-3F48-CCB6BDDCD51F}" dt="2020-09-01T12:45:56.465" v="77" actId="14100"/>
      <pc:docMkLst>
        <pc:docMk/>
      </pc:docMkLst>
      <pc:sldChg chg="modSp">
        <pc:chgData name="Bertille RAGOT" userId="S::bragot@yce-partners.fr::eedca83a-220b-4f92-9811-6933ede217d7" providerId="AD" clId="Web-{A2551A6A-38F1-45A6-3F48-CCB6BDDCD51F}" dt="2020-09-01T12:45:56.465" v="77" actId="14100"/>
        <pc:sldMkLst>
          <pc:docMk/>
          <pc:sldMk cId="3765764838" sldId="627"/>
        </pc:sldMkLst>
        <pc:spChg chg="mod">
          <ac:chgData name="Bertille RAGOT" userId="S::bragot@yce-partners.fr::eedca83a-220b-4f92-9811-6933ede217d7" providerId="AD" clId="Web-{A2551A6A-38F1-45A6-3F48-CCB6BDDCD51F}" dt="2020-09-01T12:45:56.465" v="77" actId="14100"/>
          <ac:spMkLst>
            <pc:docMk/>
            <pc:sldMk cId="3765764838" sldId="627"/>
            <ac:spMk id="8" creationId="{00000000-0000-0000-0000-000000000000}"/>
          </ac:spMkLst>
        </pc:spChg>
      </pc:sldChg>
    </pc:docChg>
  </pc:docChgLst>
  <pc:docChgLst>
    <pc:chgData name="Bertille RAGOT" userId="S::bragot@yce-partners.fr::eedca83a-220b-4f92-9811-6933ede217d7" providerId="AD" clId="Web-{F827C025-55A5-4A98-18B6-1ED6AD866C1B}"/>
    <pc:docChg chg="modSld">
      <pc:chgData name="Bertille RAGOT" userId="S::bragot@yce-partners.fr::eedca83a-220b-4f92-9811-6933ede217d7" providerId="AD" clId="Web-{F827C025-55A5-4A98-18B6-1ED6AD866C1B}" dt="2020-09-02T13:46:24.458" v="58" actId="20577"/>
      <pc:docMkLst>
        <pc:docMk/>
      </pc:docMkLst>
      <pc:sldChg chg="delSp modSp">
        <pc:chgData name="Bertille RAGOT" userId="S::bragot@yce-partners.fr::eedca83a-220b-4f92-9811-6933ede217d7" providerId="AD" clId="Web-{F827C025-55A5-4A98-18B6-1ED6AD866C1B}" dt="2020-09-02T13:33:32.746" v="49" actId="20577"/>
        <pc:sldMkLst>
          <pc:docMk/>
          <pc:sldMk cId="3268191873" sldId="612"/>
        </pc:sldMkLst>
        <pc:spChg chg="del">
          <ac:chgData name="Bertille RAGOT" userId="S::bragot@yce-partners.fr::eedca83a-220b-4f92-9811-6933ede217d7" providerId="AD" clId="Web-{F827C025-55A5-4A98-18B6-1ED6AD866C1B}" dt="2020-09-02T13:30:56.727" v="1"/>
          <ac:spMkLst>
            <pc:docMk/>
            <pc:sldMk cId="3268191873" sldId="612"/>
            <ac:spMk id="8" creationId="{00000000-0000-0000-0000-000000000000}"/>
          </ac:spMkLst>
        </pc:spChg>
        <pc:spChg chg="mod">
          <ac:chgData name="Bertille RAGOT" userId="S::bragot@yce-partners.fr::eedca83a-220b-4f92-9811-6933ede217d7" providerId="AD" clId="Web-{F827C025-55A5-4A98-18B6-1ED6AD866C1B}" dt="2020-09-02T13:33:32.746" v="49" actId="20577"/>
          <ac:spMkLst>
            <pc:docMk/>
            <pc:sldMk cId="3268191873" sldId="612"/>
            <ac:spMk id="10" creationId="{00000000-0000-0000-0000-000000000000}"/>
          </ac:spMkLst>
        </pc:spChg>
      </pc:sldChg>
      <pc:sldChg chg="modSp">
        <pc:chgData name="Bertille RAGOT" userId="S::bragot@yce-partners.fr::eedca83a-220b-4f92-9811-6933ede217d7" providerId="AD" clId="Web-{F827C025-55A5-4A98-18B6-1ED6AD866C1B}" dt="2020-09-02T13:46:24.458" v="58" actId="20577"/>
        <pc:sldMkLst>
          <pc:docMk/>
          <pc:sldMk cId="987256764" sldId="626"/>
        </pc:sldMkLst>
        <pc:spChg chg="mod">
          <ac:chgData name="Bertille RAGOT" userId="S::bragot@yce-partners.fr::eedca83a-220b-4f92-9811-6933ede217d7" providerId="AD" clId="Web-{F827C025-55A5-4A98-18B6-1ED6AD866C1B}" dt="2020-09-02T13:46:24.458" v="58" actId="20577"/>
          <ac:spMkLst>
            <pc:docMk/>
            <pc:sldMk cId="987256764" sldId="626"/>
            <ac:spMk id="10" creationId="{00000000-0000-0000-0000-000000000000}"/>
          </ac:spMkLst>
        </pc:spChg>
      </pc:sldChg>
    </pc:docChg>
  </pc:docChgLst>
  <pc:docChgLst>
    <pc:chgData name="Bertille RAGOT" userId="S::bragot@yce-partners.fr::eedca83a-220b-4f92-9811-6933ede217d7" providerId="AD" clId="Web-{AA5B43E1-71EA-42BC-6C08-A0C452206F01}"/>
    <pc:docChg chg="modSld">
      <pc:chgData name="Bertille RAGOT" userId="S::bragot@yce-partners.fr::eedca83a-220b-4f92-9811-6933ede217d7" providerId="AD" clId="Web-{AA5B43E1-71EA-42BC-6C08-A0C452206F01}" dt="2020-09-02T13:57:55.147" v="40" actId="20577"/>
      <pc:docMkLst>
        <pc:docMk/>
      </pc:docMkLst>
      <pc:sldChg chg="modSp">
        <pc:chgData name="Bertille RAGOT" userId="S::bragot@yce-partners.fr::eedca83a-220b-4f92-9811-6933ede217d7" providerId="AD" clId="Web-{AA5B43E1-71EA-42BC-6C08-A0C452206F01}" dt="2020-09-02T13:57:55.147" v="40" actId="20577"/>
        <pc:sldMkLst>
          <pc:docMk/>
          <pc:sldMk cId="3268191873" sldId="612"/>
        </pc:sldMkLst>
        <pc:spChg chg="mod">
          <ac:chgData name="Bertille RAGOT" userId="S::bragot@yce-partners.fr::eedca83a-220b-4f92-9811-6933ede217d7" providerId="AD" clId="Web-{AA5B43E1-71EA-42BC-6C08-A0C452206F01}" dt="2020-09-02T13:57:55.147" v="40" actId="20577"/>
          <ac:spMkLst>
            <pc:docMk/>
            <pc:sldMk cId="3268191873" sldId="612"/>
            <ac:spMk id="10" creationId="{00000000-0000-0000-0000-000000000000}"/>
          </ac:spMkLst>
        </pc:spChg>
      </pc:sldChg>
    </pc:docChg>
  </pc:docChgLst>
  <pc:docChgLst>
    <pc:chgData name="Lise BOUTIN" userId="S::lboutin_norsys.fr#ext#@ycepartnersfr.onmicrosoft.com::da1c1c35-06ba-4a03-9d8a-f6331282ec8c" providerId="AD" clId="Web-{6C2E0F1E-9178-B9FA-FA4E-82A34E83CA35}"/>
    <pc:docChg chg="modSld">
      <pc:chgData name="Lise BOUTIN" userId="S::lboutin_norsys.fr#ext#@ycepartnersfr.onmicrosoft.com::da1c1c35-06ba-4a03-9d8a-f6331282ec8c" providerId="AD" clId="Web-{6C2E0F1E-9178-B9FA-FA4E-82A34E83CA35}" dt="2020-09-02T15:04:19.788" v="58" actId="20577"/>
      <pc:docMkLst>
        <pc:docMk/>
      </pc:docMkLst>
      <pc:sldChg chg="addSp delSp modSp">
        <pc:chgData name="Lise BOUTIN" userId="S::lboutin_norsys.fr#ext#@ycepartnersfr.onmicrosoft.com::da1c1c35-06ba-4a03-9d8a-f6331282ec8c" providerId="AD" clId="Web-{6C2E0F1E-9178-B9FA-FA4E-82A34E83CA35}" dt="2020-09-02T15:04:19.788" v="58" actId="20577"/>
        <pc:sldMkLst>
          <pc:docMk/>
          <pc:sldMk cId="2792071364" sldId="606"/>
        </pc:sldMkLst>
        <pc:spChg chg="add mod">
          <ac:chgData name="Lise BOUTIN" userId="S::lboutin_norsys.fr#ext#@ycepartnersfr.onmicrosoft.com::da1c1c35-06ba-4a03-9d8a-f6331282ec8c" providerId="AD" clId="Web-{6C2E0F1E-9178-B9FA-FA4E-82A34E83CA35}" dt="2020-09-02T15:04:19.788" v="58" actId="20577"/>
          <ac:spMkLst>
            <pc:docMk/>
            <pc:sldMk cId="2792071364" sldId="606"/>
            <ac:spMk id="3" creationId="{6A761DD8-A357-48FB-81FB-F477DA909F23}"/>
          </ac:spMkLst>
        </pc:spChg>
        <pc:spChg chg="add del">
          <ac:chgData name="Lise BOUTIN" userId="S::lboutin_norsys.fr#ext#@ycepartnersfr.onmicrosoft.com::da1c1c35-06ba-4a03-9d8a-f6331282ec8c" providerId="AD" clId="Web-{6C2E0F1E-9178-B9FA-FA4E-82A34E83CA35}" dt="2020-09-02T15:04:15.412" v="56"/>
          <ac:spMkLst>
            <pc:docMk/>
            <pc:sldMk cId="2792071364" sldId="606"/>
            <ac:spMk id="4" creationId="{C2EB7189-1296-4896-B8F3-63199A2E7AB4}"/>
          </ac:spMkLst>
        </pc:spChg>
        <pc:picChg chg="add del mod">
          <ac:chgData name="Lise BOUTIN" userId="S::lboutin_norsys.fr#ext#@ycepartnersfr.onmicrosoft.com::da1c1c35-06ba-4a03-9d8a-f6331282ec8c" providerId="AD" clId="Web-{6C2E0F1E-9178-B9FA-FA4E-82A34E83CA35}" dt="2020-09-02T15:03:46.740" v="52"/>
          <ac:picMkLst>
            <pc:docMk/>
            <pc:sldMk cId="2792071364" sldId="606"/>
            <ac:picMk id="2" creationId="{C5AF6072-7809-49C6-8109-07A7AC6FF848}"/>
          </ac:picMkLst>
        </pc:picChg>
      </pc:sldChg>
    </pc:docChg>
  </pc:docChgLst>
  <pc:docChgLst>
    <pc:chgData name="Lise BOUTIN" userId="S::lboutin_norsys.fr#ext#@ycepartnersfr.onmicrosoft.com::da1c1c35-06ba-4a03-9d8a-f6331282ec8c" providerId="AD" clId="Web-{CE10D425-B409-3265-E762-5A28640D0FF7}"/>
    <pc:docChg chg="modSld">
      <pc:chgData name="Lise BOUTIN" userId="S::lboutin_norsys.fr#ext#@ycepartnersfr.onmicrosoft.com::da1c1c35-06ba-4a03-9d8a-f6331282ec8c" providerId="AD" clId="Web-{CE10D425-B409-3265-E762-5A28640D0FF7}" dt="2020-09-01T13:21:33.694" v="181"/>
      <pc:docMkLst>
        <pc:docMk/>
      </pc:docMkLst>
      <pc:sldChg chg="modSp">
        <pc:chgData name="Lise BOUTIN" userId="S::lboutin_norsys.fr#ext#@ycepartnersfr.onmicrosoft.com::da1c1c35-06ba-4a03-9d8a-f6331282ec8c" providerId="AD" clId="Web-{CE10D425-B409-3265-E762-5A28640D0FF7}" dt="2020-09-01T13:10:46.277" v="176" actId="20577"/>
        <pc:sldMkLst>
          <pc:docMk/>
          <pc:sldMk cId="3268191873" sldId="612"/>
        </pc:sldMkLst>
        <pc:spChg chg="mod">
          <ac:chgData name="Lise BOUTIN" userId="S::lboutin_norsys.fr#ext#@ycepartnersfr.onmicrosoft.com::da1c1c35-06ba-4a03-9d8a-f6331282ec8c" providerId="AD" clId="Web-{CE10D425-B409-3265-E762-5A28640D0FF7}" dt="2020-09-01T13:10:46.277" v="176" actId="20577"/>
          <ac:spMkLst>
            <pc:docMk/>
            <pc:sldMk cId="3268191873" sldId="612"/>
            <ac:spMk id="10" creationId="{00000000-0000-0000-0000-000000000000}"/>
          </ac:spMkLst>
        </pc:spChg>
      </pc:sldChg>
      <pc:sldChg chg="delSp modSp">
        <pc:chgData name="Lise BOUTIN" userId="S::lboutin_norsys.fr#ext#@ycepartnersfr.onmicrosoft.com::da1c1c35-06ba-4a03-9d8a-f6331282ec8c" providerId="AD" clId="Web-{CE10D425-B409-3265-E762-5A28640D0FF7}" dt="2020-09-01T13:21:33.694" v="181"/>
        <pc:sldMkLst>
          <pc:docMk/>
          <pc:sldMk cId="818700032" sldId="615"/>
        </pc:sldMkLst>
        <pc:spChg chg="del">
          <ac:chgData name="Lise BOUTIN" userId="S::lboutin_norsys.fr#ext#@ycepartnersfr.onmicrosoft.com::da1c1c35-06ba-4a03-9d8a-f6331282ec8c" providerId="AD" clId="Web-{CE10D425-B409-3265-E762-5A28640D0FF7}" dt="2020-09-01T13:21:33.694" v="181"/>
          <ac:spMkLst>
            <pc:docMk/>
            <pc:sldMk cId="818700032" sldId="615"/>
            <ac:spMk id="2" creationId="{00000000-0000-0000-0000-000000000000}"/>
          </ac:spMkLst>
        </pc:spChg>
        <pc:spChg chg="mod">
          <ac:chgData name="Lise BOUTIN" userId="S::lboutin_norsys.fr#ext#@ycepartnersfr.onmicrosoft.com::da1c1c35-06ba-4a03-9d8a-f6331282ec8c" providerId="AD" clId="Web-{CE10D425-B409-3265-E762-5A28640D0FF7}" dt="2020-09-01T12:43:35.443" v="57" actId="20577"/>
          <ac:spMkLst>
            <pc:docMk/>
            <pc:sldMk cId="818700032" sldId="615"/>
            <ac:spMk id="9" creationId="{00000000-0000-0000-0000-000000000000}"/>
          </ac:spMkLst>
        </pc:spChg>
      </pc:sldChg>
      <pc:sldChg chg="delSp modSp">
        <pc:chgData name="Lise BOUTIN" userId="S::lboutin_norsys.fr#ext#@ycepartnersfr.onmicrosoft.com::da1c1c35-06ba-4a03-9d8a-f6331282ec8c" providerId="AD" clId="Web-{CE10D425-B409-3265-E762-5A28640D0FF7}" dt="2020-09-01T13:21:31.491" v="180"/>
        <pc:sldMkLst>
          <pc:docMk/>
          <pc:sldMk cId="2007709446" sldId="616"/>
        </pc:sldMkLst>
        <pc:spChg chg="del">
          <ac:chgData name="Lise BOUTIN" userId="S::lboutin_norsys.fr#ext#@ycepartnersfr.onmicrosoft.com::da1c1c35-06ba-4a03-9d8a-f6331282ec8c" providerId="AD" clId="Web-{CE10D425-B409-3265-E762-5A28640D0FF7}" dt="2020-09-01T13:21:31.491" v="180"/>
          <ac:spMkLst>
            <pc:docMk/>
            <pc:sldMk cId="2007709446" sldId="616"/>
            <ac:spMk id="5" creationId="{00000000-0000-0000-0000-000000000000}"/>
          </ac:spMkLst>
        </pc:spChg>
        <pc:spChg chg="mod">
          <ac:chgData name="Lise BOUTIN" userId="S::lboutin_norsys.fr#ext#@ycepartnersfr.onmicrosoft.com::da1c1c35-06ba-4a03-9d8a-f6331282ec8c" providerId="AD" clId="Web-{CE10D425-B409-3265-E762-5A28640D0FF7}" dt="2020-09-01T10:58:26.637" v="39" actId="20577"/>
          <ac:spMkLst>
            <pc:docMk/>
            <pc:sldMk cId="2007709446" sldId="616"/>
            <ac:spMk id="9" creationId="{00000000-0000-0000-0000-000000000000}"/>
          </ac:spMkLst>
        </pc:spChg>
      </pc:sldChg>
      <pc:sldChg chg="delSp modSp">
        <pc:chgData name="Lise BOUTIN" userId="S::lboutin_norsys.fr#ext#@ycepartnersfr.onmicrosoft.com::da1c1c35-06ba-4a03-9d8a-f6331282ec8c" providerId="AD" clId="Web-{CE10D425-B409-3265-E762-5A28640D0FF7}" dt="2020-09-01T13:21:29.413" v="179"/>
        <pc:sldMkLst>
          <pc:docMk/>
          <pc:sldMk cId="1887725874" sldId="617"/>
        </pc:sldMkLst>
        <pc:spChg chg="del">
          <ac:chgData name="Lise BOUTIN" userId="S::lboutin_norsys.fr#ext#@ycepartnersfr.onmicrosoft.com::da1c1c35-06ba-4a03-9d8a-f6331282ec8c" providerId="AD" clId="Web-{CE10D425-B409-3265-E762-5A28640D0FF7}" dt="2020-09-01T13:21:29.413" v="179"/>
          <ac:spMkLst>
            <pc:docMk/>
            <pc:sldMk cId="1887725874" sldId="617"/>
            <ac:spMk id="7" creationId="{00000000-0000-0000-0000-000000000000}"/>
          </ac:spMkLst>
        </pc:spChg>
        <pc:spChg chg="mod">
          <ac:chgData name="Lise BOUTIN" userId="S::lboutin_norsys.fr#ext#@ycepartnersfr.onmicrosoft.com::da1c1c35-06ba-4a03-9d8a-f6331282ec8c" providerId="AD" clId="Web-{CE10D425-B409-3265-E762-5A28640D0FF7}" dt="2020-09-01T13:13:43.273" v="178" actId="20577"/>
          <ac:spMkLst>
            <pc:docMk/>
            <pc:sldMk cId="1887725874" sldId="617"/>
            <ac:spMk id="9" creationId="{00000000-0000-0000-0000-000000000000}"/>
          </ac:spMkLst>
        </pc:spChg>
      </pc:sldChg>
      <pc:sldChg chg="modSp">
        <pc:chgData name="Lise BOUTIN" userId="S::lboutin_norsys.fr#ext#@ycepartnersfr.onmicrosoft.com::da1c1c35-06ba-4a03-9d8a-f6331282ec8c" providerId="AD" clId="Web-{CE10D425-B409-3265-E762-5A28640D0FF7}" dt="2020-09-01T13:09:13.519" v="60" actId="1076"/>
        <pc:sldMkLst>
          <pc:docMk/>
          <pc:sldMk cId="3765764838" sldId="627"/>
        </pc:sldMkLst>
        <pc:spChg chg="mod">
          <ac:chgData name="Lise BOUTIN" userId="S::lboutin_norsys.fr#ext#@ycepartnersfr.onmicrosoft.com::da1c1c35-06ba-4a03-9d8a-f6331282ec8c" providerId="AD" clId="Web-{CE10D425-B409-3265-E762-5A28640D0FF7}" dt="2020-09-01T13:09:13.519" v="60" actId="1076"/>
          <ac:spMkLst>
            <pc:docMk/>
            <pc:sldMk cId="3765764838" sldId="627"/>
            <ac:spMk id="8" creationId="{00000000-0000-0000-0000-000000000000}"/>
          </ac:spMkLst>
        </pc:spChg>
      </pc:sldChg>
    </pc:docChg>
  </pc:docChgLst>
  <pc:docChgLst>
    <pc:chgData name="Lise BOUTIN" userId="S::lboutin_norsys.fr#ext#@ycepartnersfr.onmicrosoft.com::da1c1c35-06ba-4a03-9d8a-f6331282ec8c" providerId="AD" clId="Web-{C921CA8A-9FCD-3D63-BC41-B8F6C42FC121}"/>
    <pc:docChg chg="modSld">
      <pc:chgData name="Lise BOUTIN" userId="S::lboutin_norsys.fr#ext#@ycepartnersfr.onmicrosoft.com::da1c1c35-06ba-4a03-9d8a-f6331282ec8c" providerId="AD" clId="Web-{C921CA8A-9FCD-3D63-BC41-B8F6C42FC121}" dt="2020-09-02T15:01:01.161" v="21" actId="20577"/>
      <pc:docMkLst>
        <pc:docMk/>
      </pc:docMkLst>
      <pc:sldChg chg="modSp">
        <pc:chgData name="Lise BOUTIN" userId="S::lboutin_norsys.fr#ext#@ycepartnersfr.onmicrosoft.com::da1c1c35-06ba-4a03-9d8a-f6331282ec8c" providerId="AD" clId="Web-{C921CA8A-9FCD-3D63-BC41-B8F6C42FC121}" dt="2020-09-02T15:01:01.161" v="21" actId="20577"/>
        <pc:sldMkLst>
          <pc:docMk/>
          <pc:sldMk cId="818700032" sldId="615"/>
        </pc:sldMkLst>
        <pc:spChg chg="mod">
          <ac:chgData name="Lise BOUTIN" userId="S::lboutin_norsys.fr#ext#@ycepartnersfr.onmicrosoft.com::da1c1c35-06ba-4a03-9d8a-f6331282ec8c" providerId="AD" clId="Web-{C921CA8A-9FCD-3D63-BC41-B8F6C42FC121}" dt="2020-09-02T15:01:01.161" v="21" actId="20577"/>
          <ac:spMkLst>
            <pc:docMk/>
            <pc:sldMk cId="818700032" sldId="615"/>
            <ac:spMk id="9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B0D33B-4221-4DE6-AAFB-B531F46ABF96}" type="datetimeFigureOut">
              <a:rPr lang="fr-FR" smtClean="0"/>
              <a:t>18/12/2020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B544F3-4C81-45F4-84E0-3AF972296CE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241146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2EF284-32AE-465A-AFE4-C113E28235DB}" type="datetimeFigureOut">
              <a:rPr lang="fr-FR" smtClean="0"/>
              <a:pPr/>
              <a:t>18/12/2020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27100" y="744538"/>
            <a:ext cx="49434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8F4AEA-2351-4387-9E72-604160F7AF5B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163894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0288" rtl="0" eaLnBrk="1" latinLnBrk="0" hangingPunct="1">
      <a:defRPr sz="1339" kern="1200">
        <a:solidFill>
          <a:schemeClr val="tx1"/>
        </a:solidFill>
        <a:latin typeface="+mn-lt"/>
        <a:ea typeface="+mn-ea"/>
        <a:cs typeface="+mn-cs"/>
      </a:defRPr>
    </a:lvl1pPr>
    <a:lvl2pPr marL="510144" algn="l" defTabSz="1020288" rtl="0" eaLnBrk="1" latinLnBrk="0" hangingPunct="1">
      <a:defRPr sz="1339" kern="1200">
        <a:solidFill>
          <a:schemeClr val="tx1"/>
        </a:solidFill>
        <a:latin typeface="+mn-lt"/>
        <a:ea typeface="+mn-ea"/>
        <a:cs typeface="+mn-cs"/>
      </a:defRPr>
    </a:lvl2pPr>
    <a:lvl3pPr marL="1020288" algn="l" defTabSz="1020288" rtl="0" eaLnBrk="1" latinLnBrk="0" hangingPunct="1">
      <a:defRPr sz="1339" kern="1200">
        <a:solidFill>
          <a:schemeClr val="tx1"/>
        </a:solidFill>
        <a:latin typeface="+mn-lt"/>
        <a:ea typeface="+mn-ea"/>
        <a:cs typeface="+mn-cs"/>
      </a:defRPr>
    </a:lvl3pPr>
    <a:lvl4pPr marL="1530431" algn="l" defTabSz="1020288" rtl="0" eaLnBrk="1" latinLnBrk="0" hangingPunct="1">
      <a:defRPr sz="1339" kern="1200">
        <a:solidFill>
          <a:schemeClr val="tx1"/>
        </a:solidFill>
        <a:latin typeface="+mn-lt"/>
        <a:ea typeface="+mn-ea"/>
        <a:cs typeface="+mn-cs"/>
      </a:defRPr>
    </a:lvl4pPr>
    <a:lvl5pPr marL="2040575" algn="l" defTabSz="1020288" rtl="0" eaLnBrk="1" latinLnBrk="0" hangingPunct="1">
      <a:defRPr sz="1339" kern="1200">
        <a:solidFill>
          <a:schemeClr val="tx1"/>
        </a:solidFill>
        <a:latin typeface="+mn-lt"/>
        <a:ea typeface="+mn-ea"/>
        <a:cs typeface="+mn-cs"/>
      </a:defRPr>
    </a:lvl5pPr>
    <a:lvl6pPr marL="2550719" algn="l" defTabSz="1020288" rtl="0" eaLnBrk="1" latinLnBrk="0" hangingPunct="1">
      <a:defRPr sz="1339" kern="1200">
        <a:solidFill>
          <a:schemeClr val="tx1"/>
        </a:solidFill>
        <a:latin typeface="+mn-lt"/>
        <a:ea typeface="+mn-ea"/>
        <a:cs typeface="+mn-cs"/>
      </a:defRPr>
    </a:lvl6pPr>
    <a:lvl7pPr marL="3060863" algn="l" defTabSz="1020288" rtl="0" eaLnBrk="1" latinLnBrk="0" hangingPunct="1">
      <a:defRPr sz="1339" kern="1200">
        <a:solidFill>
          <a:schemeClr val="tx1"/>
        </a:solidFill>
        <a:latin typeface="+mn-lt"/>
        <a:ea typeface="+mn-ea"/>
        <a:cs typeface="+mn-cs"/>
      </a:defRPr>
    </a:lvl7pPr>
    <a:lvl8pPr marL="3571006" algn="l" defTabSz="1020288" rtl="0" eaLnBrk="1" latinLnBrk="0" hangingPunct="1">
      <a:defRPr sz="1339" kern="1200">
        <a:solidFill>
          <a:schemeClr val="tx1"/>
        </a:solidFill>
        <a:latin typeface="+mn-lt"/>
        <a:ea typeface="+mn-ea"/>
        <a:cs typeface="+mn-cs"/>
      </a:defRPr>
    </a:lvl8pPr>
    <a:lvl9pPr marL="4081150" algn="l" defTabSz="1020288" rtl="0" eaLnBrk="1" latinLnBrk="0" hangingPunct="1">
      <a:defRPr sz="133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1139" name="Espace réservé des commentair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fr-FR">
                <a:cs typeface="Arial" pitchFamily="34" charset="0"/>
              </a:rPr>
              <a:t> </a:t>
            </a:r>
          </a:p>
          <a:p>
            <a:endParaRPr lang="fr-FR">
              <a:cs typeface="Arial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726386-FD2F-4F7D-B560-C25BBF2575D4}" type="slidenum">
              <a:rPr lang="fr-FR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10514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1139" name="Espace réservé des commentair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fr-FR">
                <a:cs typeface="Arial" pitchFamily="34" charset="0"/>
              </a:rPr>
              <a:t> </a:t>
            </a:r>
          </a:p>
          <a:p>
            <a:endParaRPr lang="fr-FR">
              <a:cs typeface="Arial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726386-FD2F-4F7D-B560-C25BBF2575D4}" type="slidenum">
              <a:rPr lang="fr-FR" smtClean="0">
                <a:solidFill>
                  <a:prstClr val="black"/>
                </a:solidFill>
              </a:rPr>
              <a:pPr>
                <a:defRPr/>
              </a:pPr>
              <a:t>22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88968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1139" name="Espace réservé des commentair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fr-FR">
                <a:cs typeface="Arial" pitchFamily="34" charset="0"/>
              </a:rPr>
              <a:t> </a:t>
            </a:r>
          </a:p>
          <a:p>
            <a:endParaRPr lang="fr-FR">
              <a:cs typeface="Arial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726386-FD2F-4F7D-B560-C25BBF2575D4}" type="slidenum">
              <a:rPr lang="fr-FR" smtClean="0">
                <a:solidFill>
                  <a:prstClr val="black"/>
                </a:solidFill>
              </a:rPr>
              <a:pPr>
                <a:defRPr/>
              </a:pPr>
              <a:t>23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4854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1139" name="Espace réservé des commentair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fr-FR">
                <a:cs typeface="Arial" pitchFamily="34" charset="0"/>
              </a:rPr>
              <a:t> </a:t>
            </a:r>
          </a:p>
          <a:p>
            <a:endParaRPr lang="fr-FR">
              <a:cs typeface="Arial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726386-FD2F-4F7D-B560-C25BBF2575D4}" type="slidenum">
              <a:rPr lang="fr-FR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533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1139" name="Espace réservé des commentair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fr-FR">
                <a:cs typeface="Arial" pitchFamily="34" charset="0"/>
              </a:rPr>
              <a:t> </a:t>
            </a:r>
          </a:p>
          <a:p>
            <a:endParaRPr lang="fr-FR">
              <a:cs typeface="Arial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726386-FD2F-4F7D-B560-C25BBF2575D4}" type="slidenum">
              <a:rPr lang="fr-FR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37666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1139" name="Espace réservé des commentair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fr-FR">
                <a:cs typeface="Arial" pitchFamily="34" charset="0"/>
              </a:rPr>
              <a:t> </a:t>
            </a:r>
          </a:p>
          <a:p>
            <a:endParaRPr lang="fr-FR">
              <a:cs typeface="Arial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726386-FD2F-4F7D-B560-C25BBF2575D4}" type="slidenum">
              <a:rPr lang="fr-FR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29096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1139" name="Espace réservé des commentair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fr-FR">
                <a:cs typeface="Arial" pitchFamily="34" charset="0"/>
              </a:rPr>
              <a:t> </a:t>
            </a:r>
          </a:p>
          <a:p>
            <a:endParaRPr lang="fr-FR">
              <a:cs typeface="Arial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726386-FD2F-4F7D-B560-C25BBF2575D4}" type="slidenum">
              <a:rPr lang="fr-FR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34645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CA60052-E2CD-4219-B224-285DFC266254}" type="slidenum">
              <a:rPr lang="fr-FR" smtClean="0"/>
              <a:pPr>
                <a:defRPr/>
              </a:pPr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330585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CA60052-E2CD-4219-B224-285DFC266254}" type="slidenum">
              <a:rPr lang="fr-FR" smtClean="0"/>
              <a:pPr>
                <a:defRPr/>
              </a:pPr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148580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CA60052-E2CD-4219-B224-285DFC266254}" type="slidenum">
              <a:rPr lang="fr-FR" smtClean="0"/>
              <a:pPr>
                <a:defRPr/>
              </a:pPr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63199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1139" name="Espace réservé des commentair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fr-FR">
                <a:cs typeface="Arial" pitchFamily="34" charset="0"/>
              </a:rPr>
              <a:t> </a:t>
            </a:r>
          </a:p>
          <a:p>
            <a:endParaRPr lang="fr-FR">
              <a:cs typeface="Arial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726386-FD2F-4F7D-B560-C25BBF2575D4}" type="slidenum">
              <a:rPr lang="fr-FR" smtClean="0">
                <a:solidFill>
                  <a:prstClr val="black"/>
                </a:solidFill>
              </a:rPr>
              <a:pPr>
                <a:defRPr/>
              </a:pPr>
              <a:t>14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45973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 ?><Relationships xmlns="http://schemas.openxmlformats.org/package/2006/relationships"><Relationship Id="rId2" Target="../media/image9.jpeg" Type="http://schemas.openxmlformats.org/officeDocument/2006/relationships/image"/><Relationship Id="rId1" Target="../slideMasters/slideMaster4.xml" Type="http://schemas.openxmlformats.org/officeDocument/2006/relationships/slideMaster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5.xml"/><Relationship Id="rId1" Type="http://schemas.openxmlformats.org/officeDocument/2006/relationships/themeOverride" Target="../theme/themeOverride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bonhommesPPTjaune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82700" y="5663749"/>
            <a:ext cx="2005876" cy="2003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7428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519442" y="4853139"/>
            <a:ext cx="7132003" cy="1959504"/>
          </a:xfrm>
        </p:spPr>
        <p:txBody>
          <a:bodyPr lIns="91440" tIns="45720" rIns="91440" bIns="45720" anchor="ctr"/>
          <a:lstStyle>
            <a:lvl1pPr marL="0" indent="0" algn="ctr">
              <a:lnSpc>
                <a:spcPct val="80000"/>
              </a:lnSpc>
              <a:buFontTx/>
              <a:buNone/>
              <a:defRPr sz="3565">
                <a:solidFill>
                  <a:srgbClr val="00B0E6"/>
                </a:solidFill>
              </a:defRPr>
            </a:lvl1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866107" y="7360566"/>
            <a:ext cx="440443" cy="2733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16A12C-6E8F-45AD-9C07-B7C09C59B5B3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88298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07C03C-63D8-459F-9AE5-81E70D13AD07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72809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7381411" y="596371"/>
            <a:ext cx="2285354" cy="6474883"/>
          </a:xfrm>
        </p:spPr>
        <p:txBody>
          <a:bodyPr vert="eaVert"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21812" y="596371"/>
            <a:ext cx="6689790" cy="6474883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01A228-DF28-48FB-B8A4-160E6873521E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7800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bonhommesPPTjaune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82700" y="5663749"/>
            <a:ext cx="2005876" cy="2003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7428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519442" y="4853139"/>
            <a:ext cx="7132003" cy="1959504"/>
          </a:xfrm>
        </p:spPr>
        <p:txBody>
          <a:bodyPr lIns="91440" tIns="45720" rIns="91440" bIns="45720" anchor="ctr"/>
          <a:lstStyle>
            <a:lvl1pPr marL="0" indent="0" algn="ctr">
              <a:lnSpc>
                <a:spcPct val="80000"/>
              </a:lnSpc>
              <a:buFontTx/>
              <a:buNone/>
              <a:defRPr sz="3565">
                <a:solidFill>
                  <a:srgbClr val="00B0E6"/>
                </a:solidFill>
              </a:defRPr>
            </a:lvl1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866107" y="7360566"/>
            <a:ext cx="440443" cy="2733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16A12C-6E8F-45AD-9C07-B7C09C59B5B3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21903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5" descr="LOGO_DSN_diapo_RVB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206864" y="173941"/>
            <a:ext cx="620866" cy="6815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21812" y="291419"/>
            <a:ext cx="9144954" cy="938930"/>
          </a:xfrm>
        </p:spPr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21812" y="1499053"/>
            <a:ext cx="9144954" cy="5365562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A4BC9F-D276-4D76-BA30-608D21EF5ECE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36430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04827" y="4927159"/>
            <a:ext cx="8660289" cy="1522876"/>
          </a:xfrm>
        </p:spPr>
        <p:txBody>
          <a:bodyPr/>
          <a:lstStyle>
            <a:lvl1pPr algn="l">
              <a:defRPr sz="4457" b="1" cap="all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04827" y="3249867"/>
            <a:ext cx="8660289" cy="1677292"/>
          </a:xfrm>
        </p:spPr>
        <p:txBody>
          <a:bodyPr anchor="b"/>
          <a:lstStyle>
            <a:lvl1pPr marL="0" indent="0">
              <a:buNone/>
              <a:defRPr sz="2228"/>
            </a:lvl1pPr>
            <a:lvl2pPr marL="509412" indent="0">
              <a:buNone/>
              <a:defRPr sz="2006"/>
            </a:lvl2pPr>
            <a:lvl3pPr marL="1018824" indent="0">
              <a:buNone/>
              <a:defRPr sz="1783"/>
            </a:lvl3pPr>
            <a:lvl4pPr marL="1528237" indent="0">
              <a:buNone/>
              <a:defRPr sz="1560"/>
            </a:lvl4pPr>
            <a:lvl5pPr marL="2037649" indent="0">
              <a:buNone/>
              <a:defRPr sz="1560"/>
            </a:lvl5pPr>
            <a:lvl6pPr marL="2547061" indent="0">
              <a:buNone/>
              <a:defRPr sz="1560"/>
            </a:lvl6pPr>
            <a:lvl7pPr marL="3056473" indent="0">
              <a:buNone/>
              <a:defRPr sz="1560"/>
            </a:lvl7pPr>
            <a:lvl8pPr marL="3565886" indent="0">
              <a:buNone/>
              <a:defRPr sz="1560"/>
            </a:lvl8pPr>
            <a:lvl9pPr marL="4075298" indent="0">
              <a:buNone/>
              <a:defRPr sz="156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7FED6-9790-48B5-A980-5AC01361B312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3865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21812" y="1705692"/>
            <a:ext cx="4487571" cy="5365562"/>
          </a:xfrm>
        </p:spPr>
        <p:txBody>
          <a:bodyPr/>
          <a:lstStyle>
            <a:lvl1pPr>
              <a:defRPr sz="3120"/>
            </a:lvl1pPr>
            <a:lvl2pPr>
              <a:defRPr sz="2674"/>
            </a:lvl2pPr>
            <a:lvl3pPr>
              <a:defRPr sz="2228"/>
            </a:lvl3pPr>
            <a:lvl4pPr>
              <a:defRPr sz="2006"/>
            </a:lvl4pPr>
            <a:lvl5pPr>
              <a:defRPr sz="2006"/>
            </a:lvl5pPr>
            <a:lvl6pPr>
              <a:defRPr sz="2006"/>
            </a:lvl6pPr>
            <a:lvl7pPr>
              <a:defRPr sz="2006"/>
            </a:lvl7pPr>
            <a:lvl8pPr>
              <a:defRPr sz="2006"/>
            </a:lvl8pPr>
            <a:lvl9pPr>
              <a:defRPr sz="2006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79192" y="1705692"/>
            <a:ext cx="4487573" cy="5365562"/>
          </a:xfrm>
        </p:spPr>
        <p:txBody>
          <a:bodyPr/>
          <a:lstStyle>
            <a:lvl1pPr>
              <a:defRPr sz="3120"/>
            </a:lvl1pPr>
            <a:lvl2pPr>
              <a:defRPr sz="2674"/>
            </a:lvl2pPr>
            <a:lvl3pPr>
              <a:defRPr sz="2228"/>
            </a:lvl3pPr>
            <a:lvl4pPr>
              <a:defRPr sz="2006"/>
            </a:lvl4pPr>
            <a:lvl5pPr>
              <a:defRPr sz="2006"/>
            </a:lvl5pPr>
            <a:lvl6pPr>
              <a:defRPr sz="2006"/>
            </a:lvl6pPr>
            <a:lvl7pPr>
              <a:defRPr sz="2006"/>
            </a:lvl7pPr>
            <a:lvl8pPr>
              <a:defRPr sz="2006"/>
            </a:lvl8pPr>
            <a:lvl9pPr>
              <a:defRPr sz="2006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D72B15-E4CA-4069-B0F0-EB0E5477DF63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9357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09429" y="307060"/>
            <a:ext cx="9169718" cy="127793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509429" y="1716342"/>
            <a:ext cx="4501723" cy="715289"/>
          </a:xfrm>
        </p:spPr>
        <p:txBody>
          <a:bodyPr anchor="b"/>
          <a:lstStyle>
            <a:lvl1pPr marL="0" indent="0">
              <a:buNone/>
              <a:defRPr sz="2674" b="1"/>
            </a:lvl1pPr>
            <a:lvl2pPr marL="509412" indent="0">
              <a:buNone/>
              <a:defRPr sz="2228" b="1"/>
            </a:lvl2pPr>
            <a:lvl3pPr marL="1018824" indent="0">
              <a:buNone/>
              <a:defRPr sz="2006" b="1"/>
            </a:lvl3pPr>
            <a:lvl4pPr marL="1528237" indent="0">
              <a:buNone/>
              <a:defRPr sz="1783" b="1"/>
            </a:lvl4pPr>
            <a:lvl5pPr marL="2037649" indent="0">
              <a:buNone/>
              <a:defRPr sz="1783" b="1"/>
            </a:lvl5pPr>
            <a:lvl6pPr marL="2547061" indent="0">
              <a:buNone/>
              <a:defRPr sz="1783" b="1"/>
            </a:lvl6pPr>
            <a:lvl7pPr marL="3056473" indent="0">
              <a:buNone/>
              <a:defRPr sz="1783" b="1"/>
            </a:lvl7pPr>
            <a:lvl8pPr marL="3565886" indent="0">
              <a:buNone/>
              <a:defRPr sz="1783" b="1"/>
            </a:lvl8pPr>
            <a:lvl9pPr marL="4075298" indent="0">
              <a:buNone/>
              <a:defRPr sz="1783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09429" y="2431631"/>
            <a:ext cx="4501723" cy="4417760"/>
          </a:xfrm>
        </p:spPr>
        <p:txBody>
          <a:bodyPr/>
          <a:lstStyle>
            <a:lvl1pPr>
              <a:defRPr sz="2674"/>
            </a:lvl1pPr>
            <a:lvl2pPr>
              <a:defRPr sz="2228"/>
            </a:lvl2pPr>
            <a:lvl3pPr>
              <a:defRPr sz="2006"/>
            </a:lvl3pPr>
            <a:lvl4pPr>
              <a:defRPr sz="1783"/>
            </a:lvl4pPr>
            <a:lvl5pPr>
              <a:defRPr sz="1783"/>
            </a:lvl5pPr>
            <a:lvl6pPr>
              <a:defRPr sz="1783"/>
            </a:lvl6pPr>
            <a:lvl7pPr>
              <a:defRPr sz="1783"/>
            </a:lvl7pPr>
            <a:lvl8pPr>
              <a:defRPr sz="1783"/>
            </a:lvl8pPr>
            <a:lvl9pPr>
              <a:defRPr sz="1783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5175655" y="1716342"/>
            <a:ext cx="4503492" cy="715289"/>
          </a:xfrm>
        </p:spPr>
        <p:txBody>
          <a:bodyPr anchor="b"/>
          <a:lstStyle>
            <a:lvl1pPr marL="0" indent="0">
              <a:buNone/>
              <a:defRPr sz="2674" b="1"/>
            </a:lvl1pPr>
            <a:lvl2pPr marL="509412" indent="0">
              <a:buNone/>
              <a:defRPr sz="2228" b="1"/>
            </a:lvl2pPr>
            <a:lvl3pPr marL="1018824" indent="0">
              <a:buNone/>
              <a:defRPr sz="2006" b="1"/>
            </a:lvl3pPr>
            <a:lvl4pPr marL="1528237" indent="0">
              <a:buNone/>
              <a:defRPr sz="1783" b="1"/>
            </a:lvl4pPr>
            <a:lvl5pPr marL="2037649" indent="0">
              <a:buNone/>
              <a:defRPr sz="1783" b="1"/>
            </a:lvl5pPr>
            <a:lvl6pPr marL="2547061" indent="0">
              <a:buNone/>
              <a:defRPr sz="1783" b="1"/>
            </a:lvl6pPr>
            <a:lvl7pPr marL="3056473" indent="0">
              <a:buNone/>
              <a:defRPr sz="1783" b="1"/>
            </a:lvl7pPr>
            <a:lvl8pPr marL="3565886" indent="0">
              <a:buNone/>
              <a:defRPr sz="1783" b="1"/>
            </a:lvl8pPr>
            <a:lvl9pPr marL="4075298" indent="0">
              <a:buNone/>
              <a:defRPr sz="1783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175655" y="2431631"/>
            <a:ext cx="4503492" cy="4417760"/>
          </a:xfrm>
        </p:spPr>
        <p:txBody>
          <a:bodyPr/>
          <a:lstStyle>
            <a:lvl1pPr>
              <a:defRPr sz="2674"/>
            </a:lvl1pPr>
            <a:lvl2pPr>
              <a:defRPr sz="2228"/>
            </a:lvl2pPr>
            <a:lvl3pPr>
              <a:defRPr sz="2006"/>
            </a:lvl3pPr>
            <a:lvl4pPr>
              <a:defRPr sz="1783"/>
            </a:lvl4pPr>
            <a:lvl5pPr>
              <a:defRPr sz="1783"/>
            </a:lvl5pPr>
            <a:lvl6pPr>
              <a:defRPr sz="1783"/>
            </a:lvl6pPr>
            <a:lvl7pPr>
              <a:defRPr sz="1783"/>
            </a:lvl7pPr>
            <a:lvl8pPr>
              <a:defRPr sz="1783"/>
            </a:lvl8pPr>
            <a:lvl9pPr>
              <a:defRPr sz="1783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875BC8-20AC-420F-B386-D342E4495CBF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42133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E1458-FC18-4AD8-83A4-E386A1A41013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93536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D600F7-CE69-43F8-9DDE-B9F267FF4244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10232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09429" y="305285"/>
            <a:ext cx="3351971" cy="1299236"/>
          </a:xfrm>
        </p:spPr>
        <p:txBody>
          <a:bodyPr anchor="b"/>
          <a:lstStyle>
            <a:lvl1pPr algn="l">
              <a:defRPr sz="2228" b="1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83450" y="305285"/>
            <a:ext cx="5695696" cy="6544106"/>
          </a:xfrm>
        </p:spPr>
        <p:txBody>
          <a:bodyPr/>
          <a:lstStyle>
            <a:lvl1pPr>
              <a:defRPr sz="3565"/>
            </a:lvl1pPr>
            <a:lvl2pPr>
              <a:defRPr sz="3120"/>
            </a:lvl2pPr>
            <a:lvl3pPr>
              <a:defRPr sz="2674"/>
            </a:lvl3pPr>
            <a:lvl4pPr>
              <a:defRPr sz="2228"/>
            </a:lvl4pPr>
            <a:lvl5pPr>
              <a:defRPr sz="2228"/>
            </a:lvl5pPr>
            <a:lvl6pPr>
              <a:defRPr sz="2228"/>
            </a:lvl6pPr>
            <a:lvl7pPr>
              <a:defRPr sz="2228"/>
            </a:lvl7pPr>
            <a:lvl8pPr>
              <a:defRPr sz="2228"/>
            </a:lvl8pPr>
            <a:lvl9pPr>
              <a:defRPr sz="2228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509429" y="1604522"/>
            <a:ext cx="3351971" cy="5244869"/>
          </a:xfrm>
        </p:spPr>
        <p:txBody>
          <a:bodyPr/>
          <a:lstStyle>
            <a:lvl1pPr marL="0" indent="0">
              <a:buNone/>
              <a:defRPr sz="1560"/>
            </a:lvl1pPr>
            <a:lvl2pPr marL="509412" indent="0">
              <a:buNone/>
              <a:defRPr sz="1337"/>
            </a:lvl2pPr>
            <a:lvl3pPr marL="1018824" indent="0">
              <a:buNone/>
              <a:defRPr sz="1114"/>
            </a:lvl3pPr>
            <a:lvl4pPr marL="1528237" indent="0">
              <a:buNone/>
              <a:defRPr sz="1003"/>
            </a:lvl4pPr>
            <a:lvl5pPr marL="2037649" indent="0">
              <a:buNone/>
              <a:defRPr sz="1003"/>
            </a:lvl5pPr>
            <a:lvl6pPr marL="2547061" indent="0">
              <a:buNone/>
              <a:defRPr sz="1003"/>
            </a:lvl6pPr>
            <a:lvl7pPr marL="3056473" indent="0">
              <a:buNone/>
              <a:defRPr sz="1003"/>
            </a:lvl7pPr>
            <a:lvl8pPr marL="3565886" indent="0">
              <a:buNone/>
              <a:defRPr sz="1003"/>
            </a:lvl8pPr>
            <a:lvl9pPr marL="4075298" indent="0">
              <a:buNone/>
              <a:defRPr sz="1003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FFC9B0-8334-45FA-AB2C-42CA9225AAC1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37840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5" descr="LOGO_DSN_diapo_RVB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206864" y="173941"/>
            <a:ext cx="620866" cy="6815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A4BC9F-D276-4D76-BA30-608D21EF5ECE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7838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997032" y="5367337"/>
            <a:ext cx="6113145" cy="633645"/>
          </a:xfrm>
        </p:spPr>
        <p:txBody>
          <a:bodyPr anchor="b"/>
          <a:lstStyle>
            <a:lvl1pPr algn="l">
              <a:defRPr sz="2228" b="1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997032" y="685116"/>
            <a:ext cx="6113145" cy="4600575"/>
          </a:xfrm>
        </p:spPr>
        <p:txBody>
          <a:bodyPr/>
          <a:lstStyle>
            <a:lvl1pPr marL="0" indent="0">
              <a:buNone/>
              <a:defRPr sz="3565"/>
            </a:lvl1pPr>
            <a:lvl2pPr marL="509412" indent="0">
              <a:buNone/>
              <a:defRPr sz="3120"/>
            </a:lvl2pPr>
            <a:lvl3pPr marL="1018824" indent="0">
              <a:buNone/>
              <a:defRPr sz="2674"/>
            </a:lvl3pPr>
            <a:lvl4pPr marL="1528237" indent="0">
              <a:buNone/>
              <a:defRPr sz="2228"/>
            </a:lvl4pPr>
            <a:lvl5pPr marL="2037649" indent="0">
              <a:buNone/>
              <a:defRPr sz="2228"/>
            </a:lvl5pPr>
            <a:lvl6pPr marL="2547061" indent="0">
              <a:buNone/>
              <a:defRPr sz="2228"/>
            </a:lvl6pPr>
            <a:lvl7pPr marL="3056473" indent="0">
              <a:buNone/>
              <a:defRPr sz="2228"/>
            </a:lvl7pPr>
            <a:lvl8pPr marL="3565886" indent="0">
              <a:buNone/>
              <a:defRPr sz="2228"/>
            </a:lvl8pPr>
            <a:lvl9pPr marL="4075298" indent="0">
              <a:buNone/>
              <a:defRPr sz="2228"/>
            </a:lvl9pPr>
          </a:lstStyle>
          <a:p>
            <a:pPr lvl="0"/>
            <a:endParaRPr lang="fr-FR" noProof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997032" y="6000982"/>
            <a:ext cx="6113145" cy="899880"/>
          </a:xfrm>
        </p:spPr>
        <p:txBody>
          <a:bodyPr/>
          <a:lstStyle>
            <a:lvl1pPr marL="0" indent="0">
              <a:buNone/>
              <a:defRPr sz="1560"/>
            </a:lvl1pPr>
            <a:lvl2pPr marL="509412" indent="0">
              <a:buNone/>
              <a:defRPr sz="1337"/>
            </a:lvl2pPr>
            <a:lvl3pPr marL="1018824" indent="0">
              <a:buNone/>
              <a:defRPr sz="1114"/>
            </a:lvl3pPr>
            <a:lvl4pPr marL="1528237" indent="0">
              <a:buNone/>
              <a:defRPr sz="1003"/>
            </a:lvl4pPr>
            <a:lvl5pPr marL="2037649" indent="0">
              <a:buNone/>
              <a:defRPr sz="1003"/>
            </a:lvl5pPr>
            <a:lvl6pPr marL="2547061" indent="0">
              <a:buNone/>
              <a:defRPr sz="1003"/>
            </a:lvl6pPr>
            <a:lvl7pPr marL="3056473" indent="0">
              <a:buNone/>
              <a:defRPr sz="1003"/>
            </a:lvl7pPr>
            <a:lvl8pPr marL="3565886" indent="0">
              <a:buNone/>
              <a:defRPr sz="1003"/>
            </a:lvl8pPr>
            <a:lvl9pPr marL="4075298" indent="0">
              <a:buNone/>
              <a:defRPr sz="1003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6349AE-CE4A-4A69-AFD3-E609DCF16B07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954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07C03C-63D8-459F-9AE5-81E70D13AD07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18188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7381411" y="596371"/>
            <a:ext cx="2285354" cy="6474883"/>
          </a:xfrm>
        </p:spPr>
        <p:txBody>
          <a:bodyPr vert="eaVert"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21812" y="596371"/>
            <a:ext cx="6689790" cy="6474883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01A228-DF28-48FB-B8A4-160E6873521E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13972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bonhommesPPTjaune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82701" y="5663754"/>
            <a:ext cx="2005876" cy="2003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7428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519442" y="4853139"/>
            <a:ext cx="7132003" cy="1959504"/>
          </a:xfrm>
        </p:spPr>
        <p:txBody>
          <a:bodyPr lIns="91440" tIns="45720" rIns="91440" bIns="45720" anchor="ctr"/>
          <a:lstStyle>
            <a:lvl1pPr marL="0" indent="0" algn="ctr">
              <a:lnSpc>
                <a:spcPct val="80000"/>
              </a:lnSpc>
              <a:buFontTx/>
              <a:buNone/>
              <a:defRPr sz="3565">
                <a:solidFill>
                  <a:srgbClr val="00B0E6"/>
                </a:solidFill>
              </a:defRPr>
            </a:lvl1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866109" y="7360570"/>
            <a:ext cx="440443" cy="273337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0CC5D755-D606-4112-B6CA-8647EF5CEAF6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56179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5" descr="LOGO_DSN_diapo_RVB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206865" y="173941"/>
            <a:ext cx="620866" cy="6815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E4FD6C53-D473-46D9-A8B0-426F2D46006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131846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04827" y="4927164"/>
            <a:ext cx="8660289" cy="1522876"/>
          </a:xfrm>
        </p:spPr>
        <p:txBody>
          <a:bodyPr/>
          <a:lstStyle>
            <a:lvl1pPr algn="l">
              <a:defRPr sz="4457" b="1" cap="all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04827" y="3249867"/>
            <a:ext cx="8660289" cy="1677292"/>
          </a:xfrm>
        </p:spPr>
        <p:txBody>
          <a:bodyPr anchor="b"/>
          <a:lstStyle>
            <a:lvl1pPr marL="0" indent="0">
              <a:buNone/>
              <a:defRPr sz="2228"/>
            </a:lvl1pPr>
            <a:lvl2pPr marL="509412" indent="0">
              <a:buNone/>
              <a:defRPr sz="2006"/>
            </a:lvl2pPr>
            <a:lvl3pPr marL="1018824" indent="0">
              <a:buNone/>
              <a:defRPr sz="1783"/>
            </a:lvl3pPr>
            <a:lvl4pPr marL="1528237" indent="0">
              <a:buNone/>
              <a:defRPr sz="1560"/>
            </a:lvl4pPr>
            <a:lvl5pPr marL="2037649" indent="0">
              <a:buNone/>
              <a:defRPr sz="1560"/>
            </a:lvl5pPr>
            <a:lvl6pPr marL="2547061" indent="0">
              <a:buNone/>
              <a:defRPr sz="1560"/>
            </a:lvl6pPr>
            <a:lvl7pPr marL="3056473" indent="0">
              <a:buNone/>
              <a:defRPr sz="1560"/>
            </a:lvl7pPr>
            <a:lvl8pPr marL="3565886" indent="0">
              <a:buNone/>
              <a:defRPr sz="1560"/>
            </a:lvl8pPr>
            <a:lvl9pPr marL="4075298" indent="0">
              <a:buNone/>
              <a:defRPr sz="156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B9D5CECF-9099-439C-9B72-5DDB1B0F2455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567518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21814" y="1705692"/>
            <a:ext cx="4487571" cy="5365562"/>
          </a:xfrm>
        </p:spPr>
        <p:txBody>
          <a:bodyPr/>
          <a:lstStyle>
            <a:lvl1pPr>
              <a:defRPr sz="3120"/>
            </a:lvl1pPr>
            <a:lvl2pPr>
              <a:defRPr sz="2674"/>
            </a:lvl2pPr>
            <a:lvl3pPr>
              <a:defRPr sz="2228"/>
            </a:lvl3pPr>
            <a:lvl4pPr>
              <a:defRPr sz="2006"/>
            </a:lvl4pPr>
            <a:lvl5pPr>
              <a:defRPr sz="2006"/>
            </a:lvl5pPr>
            <a:lvl6pPr>
              <a:defRPr sz="2006"/>
            </a:lvl6pPr>
            <a:lvl7pPr>
              <a:defRPr sz="2006"/>
            </a:lvl7pPr>
            <a:lvl8pPr>
              <a:defRPr sz="2006"/>
            </a:lvl8pPr>
            <a:lvl9pPr>
              <a:defRPr sz="2006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79192" y="1705692"/>
            <a:ext cx="4487573" cy="5365562"/>
          </a:xfrm>
        </p:spPr>
        <p:txBody>
          <a:bodyPr/>
          <a:lstStyle>
            <a:lvl1pPr>
              <a:defRPr sz="3120"/>
            </a:lvl1pPr>
            <a:lvl2pPr>
              <a:defRPr sz="2674"/>
            </a:lvl2pPr>
            <a:lvl3pPr>
              <a:defRPr sz="2228"/>
            </a:lvl3pPr>
            <a:lvl4pPr>
              <a:defRPr sz="2006"/>
            </a:lvl4pPr>
            <a:lvl5pPr>
              <a:defRPr sz="2006"/>
            </a:lvl5pPr>
            <a:lvl6pPr>
              <a:defRPr sz="2006"/>
            </a:lvl6pPr>
            <a:lvl7pPr>
              <a:defRPr sz="2006"/>
            </a:lvl7pPr>
            <a:lvl8pPr>
              <a:defRPr sz="2006"/>
            </a:lvl8pPr>
            <a:lvl9pPr>
              <a:defRPr sz="2006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2A4AF624-64DA-468C-A763-224175A1612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835081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09429" y="307060"/>
            <a:ext cx="9169718" cy="127793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509429" y="1716342"/>
            <a:ext cx="4501723" cy="715289"/>
          </a:xfrm>
        </p:spPr>
        <p:txBody>
          <a:bodyPr anchor="b"/>
          <a:lstStyle>
            <a:lvl1pPr marL="0" indent="0">
              <a:buNone/>
              <a:defRPr sz="2674" b="1"/>
            </a:lvl1pPr>
            <a:lvl2pPr marL="509412" indent="0">
              <a:buNone/>
              <a:defRPr sz="2228" b="1"/>
            </a:lvl2pPr>
            <a:lvl3pPr marL="1018824" indent="0">
              <a:buNone/>
              <a:defRPr sz="2006" b="1"/>
            </a:lvl3pPr>
            <a:lvl4pPr marL="1528237" indent="0">
              <a:buNone/>
              <a:defRPr sz="1783" b="1"/>
            </a:lvl4pPr>
            <a:lvl5pPr marL="2037649" indent="0">
              <a:buNone/>
              <a:defRPr sz="1783" b="1"/>
            </a:lvl5pPr>
            <a:lvl6pPr marL="2547061" indent="0">
              <a:buNone/>
              <a:defRPr sz="1783" b="1"/>
            </a:lvl6pPr>
            <a:lvl7pPr marL="3056473" indent="0">
              <a:buNone/>
              <a:defRPr sz="1783" b="1"/>
            </a:lvl7pPr>
            <a:lvl8pPr marL="3565886" indent="0">
              <a:buNone/>
              <a:defRPr sz="1783" b="1"/>
            </a:lvl8pPr>
            <a:lvl9pPr marL="4075298" indent="0">
              <a:buNone/>
              <a:defRPr sz="1783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09429" y="2431631"/>
            <a:ext cx="4501723" cy="4417760"/>
          </a:xfrm>
        </p:spPr>
        <p:txBody>
          <a:bodyPr/>
          <a:lstStyle>
            <a:lvl1pPr>
              <a:defRPr sz="2674"/>
            </a:lvl1pPr>
            <a:lvl2pPr>
              <a:defRPr sz="2228"/>
            </a:lvl2pPr>
            <a:lvl3pPr>
              <a:defRPr sz="2006"/>
            </a:lvl3pPr>
            <a:lvl4pPr>
              <a:defRPr sz="1783"/>
            </a:lvl4pPr>
            <a:lvl5pPr>
              <a:defRPr sz="1783"/>
            </a:lvl5pPr>
            <a:lvl6pPr>
              <a:defRPr sz="1783"/>
            </a:lvl6pPr>
            <a:lvl7pPr>
              <a:defRPr sz="1783"/>
            </a:lvl7pPr>
            <a:lvl8pPr>
              <a:defRPr sz="1783"/>
            </a:lvl8pPr>
            <a:lvl9pPr>
              <a:defRPr sz="1783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5175657" y="1716342"/>
            <a:ext cx="4503492" cy="715289"/>
          </a:xfrm>
        </p:spPr>
        <p:txBody>
          <a:bodyPr anchor="b"/>
          <a:lstStyle>
            <a:lvl1pPr marL="0" indent="0">
              <a:buNone/>
              <a:defRPr sz="2674" b="1"/>
            </a:lvl1pPr>
            <a:lvl2pPr marL="509412" indent="0">
              <a:buNone/>
              <a:defRPr sz="2228" b="1"/>
            </a:lvl2pPr>
            <a:lvl3pPr marL="1018824" indent="0">
              <a:buNone/>
              <a:defRPr sz="2006" b="1"/>
            </a:lvl3pPr>
            <a:lvl4pPr marL="1528237" indent="0">
              <a:buNone/>
              <a:defRPr sz="1783" b="1"/>
            </a:lvl4pPr>
            <a:lvl5pPr marL="2037649" indent="0">
              <a:buNone/>
              <a:defRPr sz="1783" b="1"/>
            </a:lvl5pPr>
            <a:lvl6pPr marL="2547061" indent="0">
              <a:buNone/>
              <a:defRPr sz="1783" b="1"/>
            </a:lvl6pPr>
            <a:lvl7pPr marL="3056473" indent="0">
              <a:buNone/>
              <a:defRPr sz="1783" b="1"/>
            </a:lvl7pPr>
            <a:lvl8pPr marL="3565886" indent="0">
              <a:buNone/>
              <a:defRPr sz="1783" b="1"/>
            </a:lvl8pPr>
            <a:lvl9pPr marL="4075298" indent="0">
              <a:buNone/>
              <a:defRPr sz="1783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175657" y="2431631"/>
            <a:ext cx="4503492" cy="4417760"/>
          </a:xfrm>
        </p:spPr>
        <p:txBody>
          <a:bodyPr/>
          <a:lstStyle>
            <a:lvl1pPr>
              <a:defRPr sz="2674"/>
            </a:lvl1pPr>
            <a:lvl2pPr>
              <a:defRPr sz="2228"/>
            </a:lvl2pPr>
            <a:lvl3pPr>
              <a:defRPr sz="2006"/>
            </a:lvl3pPr>
            <a:lvl4pPr>
              <a:defRPr sz="1783"/>
            </a:lvl4pPr>
            <a:lvl5pPr>
              <a:defRPr sz="1783"/>
            </a:lvl5pPr>
            <a:lvl6pPr>
              <a:defRPr sz="1783"/>
            </a:lvl6pPr>
            <a:lvl7pPr>
              <a:defRPr sz="1783"/>
            </a:lvl7pPr>
            <a:lvl8pPr>
              <a:defRPr sz="1783"/>
            </a:lvl8pPr>
            <a:lvl9pPr>
              <a:defRPr sz="1783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763A0905-06FF-4B55-8DE1-E47D4CB283E8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653094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558AC0C0-FDC3-4D09-AEDA-C006ABFED41D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9108327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C44DB54C-C71A-48ED-84BC-1B38E972082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809838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04827" y="4927159"/>
            <a:ext cx="8660289" cy="1522876"/>
          </a:xfrm>
        </p:spPr>
        <p:txBody>
          <a:bodyPr/>
          <a:lstStyle>
            <a:lvl1pPr algn="l">
              <a:defRPr sz="4457" b="1" cap="all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04827" y="3249867"/>
            <a:ext cx="8660289" cy="1677292"/>
          </a:xfrm>
        </p:spPr>
        <p:txBody>
          <a:bodyPr anchor="b"/>
          <a:lstStyle>
            <a:lvl1pPr marL="0" indent="0">
              <a:buNone/>
              <a:defRPr sz="2228"/>
            </a:lvl1pPr>
            <a:lvl2pPr marL="509412" indent="0">
              <a:buNone/>
              <a:defRPr sz="2006"/>
            </a:lvl2pPr>
            <a:lvl3pPr marL="1018824" indent="0">
              <a:buNone/>
              <a:defRPr sz="1783"/>
            </a:lvl3pPr>
            <a:lvl4pPr marL="1528237" indent="0">
              <a:buNone/>
              <a:defRPr sz="1560"/>
            </a:lvl4pPr>
            <a:lvl5pPr marL="2037649" indent="0">
              <a:buNone/>
              <a:defRPr sz="1560"/>
            </a:lvl5pPr>
            <a:lvl6pPr marL="2547061" indent="0">
              <a:buNone/>
              <a:defRPr sz="1560"/>
            </a:lvl6pPr>
            <a:lvl7pPr marL="3056473" indent="0">
              <a:buNone/>
              <a:defRPr sz="1560"/>
            </a:lvl7pPr>
            <a:lvl8pPr marL="3565886" indent="0">
              <a:buNone/>
              <a:defRPr sz="1560"/>
            </a:lvl8pPr>
            <a:lvl9pPr marL="4075298" indent="0">
              <a:buNone/>
              <a:defRPr sz="156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7FED6-9790-48B5-A980-5AC01361B312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0409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09432" y="305285"/>
            <a:ext cx="3351971" cy="1299236"/>
          </a:xfrm>
        </p:spPr>
        <p:txBody>
          <a:bodyPr anchor="b"/>
          <a:lstStyle>
            <a:lvl1pPr algn="l">
              <a:defRPr sz="2228" b="1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83450" y="305288"/>
            <a:ext cx="5695696" cy="6544106"/>
          </a:xfrm>
        </p:spPr>
        <p:txBody>
          <a:bodyPr/>
          <a:lstStyle>
            <a:lvl1pPr>
              <a:defRPr sz="3565"/>
            </a:lvl1pPr>
            <a:lvl2pPr>
              <a:defRPr sz="3120"/>
            </a:lvl2pPr>
            <a:lvl3pPr>
              <a:defRPr sz="2674"/>
            </a:lvl3pPr>
            <a:lvl4pPr>
              <a:defRPr sz="2228"/>
            </a:lvl4pPr>
            <a:lvl5pPr>
              <a:defRPr sz="2228"/>
            </a:lvl5pPr>
            <a:lvl6pPr>
              <a:defRPr sz="2228"/>
            </a:lvl6pPr>
            <a:lvl7pPr>
              <a:defRPr sz="2228"/>
            </a:lvl7pPr>
            <a:lvl8pPr>
              <a:defRPr sz="2228"/>
            </a:lvl8pPr>
            <a:lvl9pPr>
              <a:defRPr sz="2228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509432" y="1604524"/>
            <a:ext cx="3351971" cy="5244869"/>
          </a:xfrm>
        </p:spPr>
        <p:txBody>
          <a:bodyPr/>
          <a:lstStyle>
            <a:lvl1pPr marL="0" indent="0">
              <a:buNone/>
              <a:defRPr sz="1560"/>
            </a:lvl1pPr>
            <a:lvl2pPr marL="509412" indent="0">
              <a:buNone/>
              <a:defRPr sz="1337"/>
            </a:lvl2pPr>
            <a:lvl3pPr marL="1018824" indent="0">
              <a:buNone/>
              <a:defRPr sz="1114"/>
            </a:lvl3pPr>
            <a:lvl4pPr marL="1528237" indent="0">
              <a:buNone/>
              <a:defRPr sz="1003"/>
            </a:lvl4pPr>
            <a:lvl5pPr marL="2037649" indent="0">
              <a:buNone/>
              <a:defRPr sz="1003"/>
            </a:lvl5pPr>
            <a:lvl6pPr marL="2547061" indent="0">
              <a:buNone/>
              <a:defRPr sz="1003"/>
            </a:lvl6pPr>
            <a:lvl7pPr marL="3056473" indent="0">
              <a:buNone/>
              <a:defRPr sz="1003"/>
            </a:lvl7pPr>
            <a:lvl8pPr marL="3565886" indent="0">
              <a:buNone/>
              <a:defRPr sz="1003"/>
            </a:lvl8pPr>
            <a:lvl9pPr marL="4075298" indent="0">
              <a:buNone/>
              <a:defRPr sz="1003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CF4F0027-A99A-4240-89FE-D3EA62C298DD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6392434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997032" y="5367337"/>
            <a:ext cx="6113145" cy="633645"/>
          </a:xfrm>
        </p:spPr>
        <p:txBody>
          <a:bodyPr anchor="b"/>
          <a:lstStyle>
            <a:lvl1pPr algn="l">
              <a:defRPr sz="2228" b="1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997032" y="685116"/>
            <a:ext cx="6113145" cy="4600575"/>
          </a:xfrm>
        </p:spPr>
        <p:txBody>
          <a:bodyPr/>
          <a:lstStyle>
            <a:lvl1pPr marL="0" indent="0">
              <a:buNone/>
              <a:defRPr sz="3565"/>
            </a:lvl1pPr>
            <a:lvl2pPr marL="509412" indent="0">
              <a:buNone/>
              <a:defRPr sz="3120"/>
            </a:lvl2pPr>
            <a:lvl3pPr marL="1018824" indent="0">
              <a:buNone/>
              <a:defRPr sz="2674"/>
            </a:lvl3pPr>
            <a:lvl4pPr marL="1528237" indent="0">
              <a:buNone/>
              <a:defRPr sz="2228"/>
            </a:lvl4pPr>
            <a:lvl5pPr marL="2037649" indent="0">
              <a:buNone/>
              <a:defRPr sz="2228"/>
            </a:lvl5pPr>
            <a:lvl6pPr marL="2547061" indent="0">
              <a:buNone/>
              <a:defRPr sz="2228"/>
            </a:lvl6pPr>
            <a:lvl7pPr marL="3056473" indent="0">
              <a:buNone/>
              <a:defRPr sz="2228"/>
            </a:lvl7pPr>
            <a:lvl8pPr marL="3565886" indent="0">
              <a:buNone/>
              <a:defRPr sz="2228"/>
            </a:lvl8pPr>
            <a:lvl9pPr marL="4075298" indent="0">
              <a:buNone/>
              <a:defRPr sz="2228"/>
            </a:lvl9pPr>
          </a:lstStyle>
          <a:p>
            <a:pPr lvl="0"/>
            <a:endParaRPr lang="fr-FR" noProof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997032" y="6000982"/>
            <a:ext cx="6113145" cy="899880"/>
          </a:xfrm>
        </p:spPr>
        <p:txBody>
          <a:bodyPr/>
          <a:lstStyle>
            <a:lvl1pPr marL="0" indent="0">
              <a:buNone/>
              <a:defRPr sz="1560"/>
            </a:lvl1pPr>
            <a:lvl2pPr marL="509412" indent="0">
              <a:buNone/>
              <a:defRPr sz="1337"/>
            </a:lvl2pPr>
            <a:lvl3pPr marL="1018824" indent="0">
              <a:buNone/>
              <a:defRPr sz="1114"/>
            </a:lvl3pPr>
            <a:lvl4pPr marL="1528237" indent="0">
              <a:buNone/>
              <a:defRPr sz="1003"/>
            </a:lvl4pPr>
            <a:lvl5pPr marL="2037649" indent="0">
              <a:buNone/>
              <a:defRPr sz="1003"/>
            </a:lvl5pPr>
            <a:lvl6pPr marL="2547061" indent="0">
              <a:buNone/>
              <a:defRPr sz="1003"/>
            </a:lvl6pPr>
            <a:lvl7pPr marL="3056473" indent="0">
              <a:buNone/>
              <a:defRPr sz="1003"/>
            </a:lvl7pPr>
            <a:lvl8pPr marL="3565886" indent="0">
              <a:buNone/>
              <a:defRPr sz="1003"/>
            </a:lvl8pPr>
            <a:lvl9pPr marL="4075298" indent="0">
              <a:buNone/>
              <a:defRPr sz="1003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EC2D94AA-A956-4A91-9887-B98AD1CBF34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922227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7045D1E9-7BDE-43A7-B088-31D550C03392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4556383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7381412" y="596371"/>
            <a:ext cx="2285354" cy="6474883"/>
          </a:xfrm>
        </p:spPr>
        <p:txBody>
          <a:bodyPr vert="eaVert"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21814" y="596371"/>
            <a:ext cx="6689790" cy="6474883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D3150F53-EE4F-4DF7-994B-C63678D11E9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1696294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21814" y="596371"/>
            <a:ext cx="9144954" cy="938930"/>
          </a:xfrm>
        </p:spPr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21814" y="1705692"/>
            <a:ext cx="9144954" cy="5365562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93429E59-4F77-4D69-B209-6FD6FD13CACE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630522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0"/>
          </p:nvPr>
        </p:nvSpPr>
        <p:spPr>
          <a:xfrm>
            <a:off x="5612722" y="6052394"/>
            <a:ext cx="3496326" cy="8000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lang="fr-FR" sz="185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3537" y="2393214"/>
            <a:ext cx="7548808" cy="21213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tabLst/>
              <a:defRPr sz="7817"/>
            </a:lvl1pPr>
          </a:lstStyle>
          <a:p>
            <a:r>
              <a:rPr lang="fr-FR"/>
              <a:t>Modifiez le style du titre</a:t>
            </a:r>
          </a:p>
        </p:txBody>
      </p:sp>
      <p:cxnSp>
        <p:nvCxnSpPr>
          <p:cNvPr id="26" name="Connecteur droit 25"/>
          <p:cNvCxnSpPr/>
          <p:nvPr userDrawn="1"/>
        </p:nvCxnSpPr>
        <p:spPr>
          <a:xfrm>
            <a:off x="798687" y="1901193"/>
            <a:ext cx="8443076" cy="0"/>
          </a:xfrm>
          <a:prstGeom prst="line">
            <a:avLst/>
          </a:prstGeom>
          <a:ln w="76200" cmpd="sng">
            <a:gradFill flip="none" rotWithShape="1">
              <a:gsLst>
                <a:gs pos="0">
                  <a:schemeClr val="accent1">
                    <a:tint val="66000"/>
                    <a:satMod val="160000"/>
                    <a:lumMod val="50000"/>
                  </a:schemeClr>
                </a:gs>
                <a:gs pos="70000">
                  <a:srgbClr val="E8540B">
                    <a:lumMod val="100000"/>
                  </a:srgb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18"/>
          <p:cNvCxnSpPr/>
          <p:nvPr userDrawn="1"/>
        </p:nvCxnSpPr>
        <p:spPr>
          <a:xfrm>
            <a:off x="798687" y="5927045"/>
            <a:ext cx="8443076" cy="0"/>
          </a:xfrm>
          <a:prstGeom prst="line">
            <a:avLst/>
          </a:prstGeom>
          <a:ln w="76200" cmpd="sng">
            <a:gradFill flip="none" rotWithShape="1">
              <a:gsLst>
                <a:gs pos="0">
                  <a:schemeClr val="accent1">
                    <a:tint val="66000"/>
                    <a:satMod val="160000"/>
                    <a:lumMod val="50000"/>
                  </a:schemeClr>
                </a:gs>
                <a:gs pos="70000">
                  <a:srgbClr val="E8540B">
                    <a:lumMod val="100000"/>
                  </a:srgb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10"/>
          <p:cNvSpPr>
            <a:spLocks noChangeArrowheads="1"/>
          </p:cNvSpPr>
          <p:nvPr userDrawn="1"/>
        </p:nvSpPr>
        <p:spPr bwMode="auto">
          <a:xfrm>
            <a:off x="1564207" y="7294893"/>
            <a:ext cx="7132003" cy="2129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4042" tIns="47022" rIns="94042" bIns="4702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94046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fr-FR" altLang="fr-FR" sz="1029" b="1">
                <a:solidFill>
                  <a:srgbClr val="0070C0"/>
                </a:solidFill>
                <a:latin typeface="Trebuchet MS" pitchFamily="34" charset="0"/>
              </a:rPr>
              <a:t>Réunion COUTI – GIP-MDS – OC – 22/05/2018</a:t>
            </a:r>
          </a:p>
        </p:txBody>
      </p:sp>
    </p:spTree>
  </p:cSld>
  <p:clrMapOvr>
    <a:masterClrMapping/>
  </p:clrMapOvr>
  <p:transition>
    <p:fade/>
  </p:transition>
  <p:hf sldNum="0" hdr="0" ftr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Box 18"/>
          <p:cNvSpPr txBox="1">
            <a:spLocks noChangeArrowheads="1"/>
          </p:cNvSpPr>
          <p:nvPr userDrawn="1"/>
        </p:nvSpPr>
        <p:spPr bwMode="auto">
          <a:xfrm>
            <a:off x="9715068" y="7272194"/>
            <a:ext cx="383885" cy="284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4042" tIns="47022" rIns="94042" bIns="47022">
            <a:spAutoFit/>
          </a:bodyPr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40460" eaLnBrk="1" hangingPunct="1">
              <a:defRPr/>
            </a:pPr>
            <a:fld id="{32672E87-8428-48CA-B28F-E3D5BD58F8CC}" type="slidenum">
              <a:rPr lang="fr-FR" sz="1234" smtClean="0">
                <a:solidFill>
                  <a:srgbClr val="000000"/>
                </a:solidFill>
              </a:rPr>
              <a:pPr defTabSz="940460" eaLnBrk="1" hangingPunct="1">
                <a:defRPr/>
              </a:pPr>
              <a:t>‹N°›</a:t>
            </a:fld>
            <a:endParaRPr lang="fr-FR" sz="1234">
              <a:solidFill>
                <a:srgbClr val="000000"/>
              </a:solidFill>
            </a:endParaRPr>
          </a:p>
        </p:txBody>
      </p:sp>
      <p:sp>
        <p:nvSpPr>
          <p:cNvPr id="37" name="Rectangle 10"/>
          <p:cNvSpPr>
            <a:spLocks noChangeArrowheads="1"/>
          </p:cNvSpPr>
          <p:nvPr userDrawn="1"/>
        </p:nvSpPr>
        <p:spPr bwMode="auto">
          <a:xfrm>
            <a:off x="1564207" y="7294893"/>
            <a:ext cx="7132003" cy="2129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4042" tIns="47022" rIns="94042" bIns="4702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94046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fr-FR" altLang="fr-FR" sz="1029" b="1">
                <a:solidFill>
                  <a:srgbClr val="0070C0"/>
                </a:solidFill>
                <a:latin typeface="Trebuchet MS" pitchFamily="34" charset="0"/>
              </a:rPr>
              <a:t>Réunion COUTI – GIP-MDS – OC – 22/05/2018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1007" y="355835"/>
            <a:ext cx="7435377" cy="50720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r">
              <a:defRPr sz="288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361294" y="1843110"/>
            <a:ext cx="8261146" cy="4751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2057" b="1">
                <a:solidFill>
                  <a:schemeClr val="tx2"/>
                </a:solidFill>
              </a:defRPr>
            </a:lvl1pPr>
            <a:lvl2pPr marL="274301" indent="-274301">
              <a:spcBef>
                <a:spcPts val="1234"/>
              </a:spcBef>
              <a:buClr>
                <a:schemeClr val="accent1"/>
              </a:buClr>
              <a:buFont typeface="Wingdings" panose="05000000000000000000" pitchFamily="2" charset="2"/>
              <a:buChar char="q"/>
              <a:defRPr sz="1440" b="1"/>
            </a:lvl2pPr>
            <a:lvl3pPr marL="546970" indent="-176336">
              <a:spcBef>
                <a:spcPts val="103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q"/>
              <a:defRPr sz="1234"/>
            </a:lvl3pPr>
            <a:lvl4pPr marL="0" indent="0" algn="ctr">
              <a:spcBef>
                <a:spcPts val="1234"/>
              </a:spcBef>
              <a:buNone/>
              <a:defRPr sz="2571"/>
            </a:lvl4pPr>
            <a:lvl5pPr marL="0" indent="0">
              <a:spcBef>
                <a:spcPts val="0"/>
              </a:spcBef>
              <a:buNone/>
              <a:defRPr sz="185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2" name="Connecteur droit 41"/>
          <p:cNvCxnSpPr/>
          <p:nvPr userDrawn="1"/>
        </p:nvCxnSpPr>
        <p:spPr>
          <a:xfrm>
            <a:off x="2057743" y="874586"/>
            <a:ext cx="7653329" cy="0"/>
          </a:xfrm>
          <a:prstGeom prst="line">
            <a:avLst/>
          </a:prstGeom>
          <a:ln w="38100" cmpd="sng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eur droit 43"/>
          <p:cNvCxnSpPr/>
          <p:nvPr userDrawn="1"/>
        </p:nvCxnSpPr>
        <p:spPr>
          <a:xfrm>
            <a:off x="328104" y="7183682"/>
            <a:ext cx="9565153" cy="12868"/>
          </a:xfrm>
          <a:prstGeom prst="line">
            <a:avLst/>
          </a:prstGeom>
          <a:ln w="12700" cmpd="sng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8066" y="49893"/>
            <a:ext cx="3036545" cy="791672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bonhommesPPTjaune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82700" y="5663749"/>
            <a:ext cx="2005876" cy="2003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7428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519442" y="4853139"/>
            <a:ext cx="7132003" cy="1959504"/>
          </a:xfrm>
        </p:spPr>
        <p:txBody>
          <a:bodyPr lIns="91440" tIns="45720" rIns="91440" bIns="45720" anchor="ctr"/>
          <a:lstStyle>
            <a:lvl1pPr marL="0" indent="0" algn="ctr">
              <a:lnSpc>
                <a:spcPct val="80000"/>
              </a:lnSpc>
              <a:buFontTx/>
              <a:buNone/>
              <a:defRPr sz="3565">
                <a:solidFill>
                  <a:srgbClr val="00B0E6"/>
                </a:solidFill>
              </a:defRPr>
            </a:lvl1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866107" y="7360566"/>
            <a:ext cx="440443" cy="2733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16A12C-6E8F-45AD-9C07-B7C09C59B5B3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14607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5" descr="LOGO_DSN_diapo_RVB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206864" y="173941"/>
            <a:ext cx="620866" cy="6815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21812" y="291419"/>
            <a:ext cx="9144954" cy="938930"/>
          </a:xfrm>
        </p:spPr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21812" y="1499053"/>
            <a:ext cx="9144954" cy="5365562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A4BC9F-D276-4D76-BA30-608D21EF5ECE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375096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04827" y="4927159"/>
            <a:ext cx="8660289" cy="1522876"/>
          </a:xfrm>
        </p:spPr>
        <p:txBody>
          <a:bodyPr/>
          <a:lstStyle>
            <a:lvl1pPr algn="l">
              <a:defRPr sz="4457" b="1" cap="all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04827" y="3249867"/>
            <a:ext cx="8660289" cy="1677292"/>
          </a:xfrm>
        </p:spPr>
        <p:txBody>
          <a:bodyPr anchor="b"/>
          <a:lstStyle>
            <a:lvl1pPr marL="0" indent="0">
              <a:buNone/>
              <a:defRPr sz="2228"/>
            </a:lvl1pPr>
            <a:lvl2pPr marL="509412" indent="0">
              <a:buNone/>
              <a:defRPr sz="2006"/>
            </a:lvl2pPr>
            <a:lvl3pPr marL="1018824" indent="0">
              <a:buNone/>
              <a:defRPr sz="1783"/>
            </a:lvl3pPr>
            <a:lvl4pPr marL="1528237" indent="0">
              <a:buNone/>
              <a:defRPr sz="1560"/>
            </a:lvl4pPr>
            <a:lvl5pPr marL="2037649" indent="0">
              <a:buNone/>
              <a:defRPr sz="1560"/>
            </a:lvl5pPr>
            <a:lvl6pPr marL="2547061" indent="0">
              <a:buNone/>
              <a:defRPr sz="1560"/>
            </a:lvl6pPr>
            <a:lvl7pPr marL="3056473" indent="0">
              <a:buNone/>
              <a:defRPr sz="1560"/>
            </a:lvl7pPr>
            <a:lvl8pPr marL="3565886" indent="0">
              <a:buNone/>
              <a:defRPr sz="1560"/>
            </a:lvl8pPr>
            <a:lvl9pPr marL="4075298" indent="0">
              <a:buNone/>
              <a:defRPr sz="156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7FED6-9790-48B5-A980-5AC01361B312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05751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21812" y="1705692"/>
            <a:ext cx="4487571" cy="5365562"/>
          </a:xfrm>
        </p:spPr>
        <p:txBody>
          <a:bodyPr/>
          <a:lstStyle>
            <a:lvl1pPr>
              <a:defRPr sz="3120"/>
            </a:lvl1pPr>
            <a:lvl2pPr>
              <a:defRPr sz="2674"/>
            </a:lvl2pPr>
            <a:lvl3pPr>
              <a:defRPr sz="2228"/>
            </a:lvl3pPr>
            <a:lvl4pPr>
              <a:defRPr sz="2006"/>
            </a:lvl4pPr>
            <a:lvl5pPr>
              <a:defRPr sz="2006"/>
            </a:lvl5pPr>
            <a:lvl6pPr>
              <a:defRPr sz="2006"/>
            </a:lvl6pPr>
            <a:lvl7pPr>
              <a:defRPr sz="2006"/>
            </a:lvl7pPr>
            <a:lvl8pPr>
              <a:defRPr sz="2006"/>
            </a:lvl8pPr>
            <a:lvl9pPr>
              <a:defRPr sz="2006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79192" y="1705692"/>
            <a:ext cx="4487573" cy="5365562"/>
          </a:xfrm>
        </p:spPr>
        <p:txBody>
          <a:bodyPr/>
          <a:lstStyle>
            <a:lvl1pPr>
              <a:defRPr sz="3120"/>
            </a:lvl1pPr>
            <a:lvl2pPr>
              <a:defRPr sz="2674"/>
            </a:lvl2pPr>
            <a:lvl3pPr>
              <a:defRPr sz="2228"/>
            </a:lvl3pPr>
            <a:lvl4pPr>
              <a:defRPr sz="2006"/>
            </a:lvl4pPr>
            <a:lvl5pPr>
              <a:defRPr sz="2006"/>
            </a:lvl5pPr>
            <a:lvl6pPr>
              <a:defRPr sz="2006"/>
            </a:lvl6pPr>
            <a:lvl7pPr>
              <a:defRPr sz="2006"/>
            </a:lvl7pPr>
            <a:lvl8pPr>
              <a:defRPr sz="2006"/>
            </a:lvl8pPr>
            <a:lvl9pPr>
              <a:defRPr sz="2006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D72B15-E4CA-4069-B0F0-EB0E5477DF63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16073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21812" y="1705692"/>
            <a:ext cx="4487571" cy="5365562"/>
          </a:xfrm>
        </p:spPr>
        <p:txBody>
          <a:bodyPr/>
          <a:lstStyle>
            <a:lvl1pPr>
              <a:defRPr sz="3120"/>
            </a:lvl1pPr>
            <a:lvl2pPr>
              <a:defRPr sz="2674"/>
            </a:lvl2pPr>
            <a:lvl3pPr>
              <a:defRPr sz="2228"/>
            </a:lvl3pPr>
            <a:lvl4pPr>
              <a:defRPr sz="2006"/>
            </a:lvl4pPr>
            <a:lvl5pPr>
              <a:defRPr sz="2006"/>
            </a:lvl5pPr>
            <a:lvl6pPr>
              <a:defRPr sz="2006"/>
            </a:lvl6pPr>
            <a:lvl7pPr>
              <a:defRPr sz="2006"/>
            </a:lvl7pPr>
            <a:lvl8pPr>
              <a:defRPr sz="2006"/>
            </a:lvl8pPr>
            <a:lvl9pPr>
              <a:defRPr sz="2006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179192" y="1705692"/>
            <a:ext cx="4487573" cy="5365562"/>
          </a:xfrm>
        </p:spPr>
        <p:txBody>
          <a:bodyPr/>
          <a:lstStyle>
            <a:lvl1pPr>
              <a:defRPr sz="3120"/>
            </a:lvl1pPr>
            <a:lvl2pPr>
              <a:defRPr sz="2674"/>
            </a:lvl2pPr>
            <a:lvl3pPr>
              <a:defRPr sz="2228"/>
            </a:lvl3pPr>
            <a:lvl4pPr>
              <a:defRPr sz="2006"/>
            </a:lvl4pPr>
            <a:lvl5pPr>
              <a:defRPr sz="2006"/>
            </a:lvl5pPr>
            <a:lvl6pPr>
              <a:defRPr sz="2006"/>
            </a:lvl6pPr>
            <a:lvl7pPr>
              <a:defRPr sz="2006"/>
            </a:lvl7pPr>
            <a:lvl8pPr>
              <a:defRPr sz="2006"/>
            </a:lvl8pPr>
            <a:lvl9pPr>
              <a:defRPr sz="2006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D72B15-E4CA-4069-B0F0-EB0E5477DF63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79708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09429" y="307060"/>
            <a:ext cx="9169718" cy="127793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509429" y="1716342"/>
            <a:ext cx="4501723" cy="715289"/>
          </a:xfrm>
        </p:spPr>
        <p:txBody>
          <a:bodyPr anchor="b"/>
          <a:lstStyle>
            <a:lvl1pPr marL="0" indent="0">
              <a:buNone/>
              <a:defRPr sz="2674" b="1"/>
            </a:lvl1pPr>
            <a:lvl2pPr marL="509412" indent="0">
              <a:buNone/>
              <a:defRPr sz="2228" b="1"/>
            </a:lvl2pPr>
            <a:lvl3pPr marL="1018824" indent="0">
              <a:buNone/>
              <a:defRPr sz="2006" b="1"/>
            </a:lvl3pPr>
            <a:lvl4pPr marL="1528237" indent="0">
              <a:buNone/>
              <a:defRPr sz="1783" b="1"/>
            </a:lvl4pPr>
            <a:lvl5pPr marL="2037649" indent="0">
              <a:buNone/>
              <a:defRPr sz="1783" b="1"/>
            </a:lvl5pPr>
            <a:lvl6pPr marL="2547061" indent="0">
              <a:buNone/>
              <a:defRPr sz="1783" b="1"/>
            </a:lvl6pPr>
            <a:lvl7pPr marL="3056473" indent="0">
              <a:buNone/>
              <a:defRPr sz="1783" b="1"/>
            </a:lvl7pPr>
            <a:lvl8pPr marL="3565886" indent="0">
              <a:buNone/>
              <a:defRPr sz="1783" b="1"/>
            </a:lvl8pPr>
            <a:lvl9pPr marL="4075298" indent="0">
              <a:buNone/>
              <a:defRPr sz="1783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09429" y="2431631"/>
            <a:ext cx="4501723" cy="4417760"/>
          </a:xfrm>
        </p:spPr>
        <p:txBody>
          <a:bodyPr/>
          <a:lstStyle>
            <a:lvl1pPr>
              <a:defRPr sz="2674"/>
            </a:lvl1pPr>
            <a:lvl2pPr>
              <a:defRPr sz="2228"/>
            </a:lvl2pPr>
            <a:lvl3pPr>
              <a:defRPr sz="2006"/>
            </a:lvl3pPr>
            <a:lvl4pPr>
              <a:defRPr sz="1783"/>
            </a:lvl4pPr>
            <a:lvl5pPr>
              <a:defRPr sz="1783"/>
            </a:lvl5pPr>
            <a:lvl6pPr>
              <a:defRPr sz="1783"/>
            </a:lvl6pPr>
            <a:lvl7pPr>
              <a:defRPr sz="1783"/>
            </a:lvl7pPr>
            <a:lvl8pPr>
              <a:defRPr sz="1783"/>
            </a:lvl8pPr>
            <a:lvl9pPr>
              <a:defRPr sz="1783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5175655" y="1716342"/>
            <a:ext cx="4503492" cy="715289"/>
          </a:xfrm>
        </p:spPr>
        <p:txBody>
          <a:bodyPr anchor="b"/>
          <a:lstStyle>
            <a:lvl1pPr marL="0" indent="0">
              <a:buNone/>
              <a:defRPr sz="2674" b="1"/>
            </a:lvl1pPr>
            <a:lvl2pPr marL="509412" indent="0">
              <a:buNone/>
              <a:defRPr sz="2228" b="1"/>
            </a:lvl2pPr>
            <a:lvl3pPr marL="1018824" indent="0">
              <a:buNone/>
              <a:defRPr sz="2006" b="1"/>
            </a:lvl3pPr>
            <a:lvl4pPr marL="1528237" indent="0">
              <a:buNone/>
              <a:defRPr sz="1783" b="1"/>
            </a:lvl4pPr>
            <a:lvl5pPr marL="2037649" indent="0">
              <a:buNone/>
              <a:defRPr sz="1783" b="1"/>
            </a:lvl5pPr>
            <a:lvl6pPr marL="2547061" indent="0">
              <a:buNone/>
              <a:defRPr sz="1783" b="1"/>
            </a:lvl6pPr>
            <a:lvl7pPr marL="3056473" indent="0">
              <a:buNone/>
              <a:defRPr sz="1783" b="1"/>
            </a:lvl7pPr>
            <a:lvl8pPr marL="3565886" indent="0">
              <a:buNone/>
              <a:defRPr sz="1783" b="1"/>
            </a:lvl8pPr>
            <a:lvl9pPr marL="4075298" indent="0">
              <a:buNone/>
              <a:defRPr sz="1783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175655" y="2431631"/>
            <a:ext cx="4503492" cy="4417760"/>
          </a:xfrm>
        </p:spPr>
        <p:txBody>
          <a:bodyPr/>
          <a:lstStyle>
            <a:lvl1pPr>
              <a:defRPr sz="2674"/>
            </a:lvl1pPr>
            <a:lvl2pPr>
              <a:defRPr sz="2228"/>
            </a:lvl2pPr>
            <a:lvl3pPr>
              <a:defRPr sz="2006"/>
            </a:lvl3pPr>
            <a:lvl4pPr>
              <a:defRPr sz="1783"/>
            </a:lvl4pPr>
            <a:lvl5pPr>
              <a:defRPr sz="1783"/>
            </a:lvl5pPr>
            <a:lvl6pPr>
              <a:defRPr sz="1783"/>
            </a:lvl6pPr>
            <a:lvl7pPr>
              <a:defRPr sz="1783"/>
            </a:lvl7pPr>
            <a:lvl8pPr>
              <a:defRPr sz="1783"/>
            </a:lvl8pPr>
            <a:lvl9pPr>
              <a:defRPr sz="1783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875BC8-20AC-420F-B386-D342E4495CBF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997129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E1458-FC18-4AD8-83A4-E386A1A41013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297804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D600F7-CE69-43F8-9DDE-B9F267FF4244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522579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09429" y="305285"/>
            <a:ext cx="3351971" cy="1299236"/>
          </a:xfrm>
        </p:spPr>
        <p:txBody>
          <a:bodyPr anchor="b"/>
          <a:lstStyle>
            <a:lvl1pPr algn="l">
              <a:defRPr sz="2228" b="1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83450" y="305285"/>
            <a:ext cx="5695696" cy="6544106"/>
          </a:xfrm>
        </p:spPr>
        <p:txBody>
          <a:bodyPr/>
          <a:lstStyle>
            <a:lvl1pPr>
              <a:defRPr sz="3565"/>
            </a:lvl1pPr>
            <a:lvl2pPr>
              <a:defRPr sz="3120"/>
            </a:lvl2pPr>
            <a:lvl3pPr>
              <a:defRPr sz="2674"/>
            </a:lvl3pPr>
            <a:lvl4pPr>
              <a:defRPr sz="2228"/>
            </a:lvl4pPr>
            <a:lvl5pPr>
              <a:defRPr sz="2228"/>
            </a:lvl5pPr>
            <a:lvl6pPr>
              <a:defRPr sz="2228"/>
            </a:lvl6pPr>
            <a:lvl7pPr>
              <a:defRPr sz="2228"/>
            </a:lvl7pPr>
            <a:lvl8pPr>
              <a:defRPr sz="2228"/>
            </a:lvl8pPr>
            <a:lvl9pPr>
              <a:defRPr sz="2228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509429" y="1604522"/>
            <a:ext cx="3351971" cy="5244869"/>
          </a:xfrm>
        </p:spPr>
        <p:txBody>
          <a:bodyPr/>
          <a:lstStyle>
            <a:lvl1pPr marL="0" indent="0">
              <a:buNone/>
              <a:defRPr sz="1560"/>
            </a:lvl1pPr>
            <a:lvl2pPr marL="509412" indent="0">
              <a:buNone/>
              <a:defRPr sz="1337"/>
            </a:lvl2pPr>
            <a:lvl3pPr marL="1018824" indent="0">
              <a:buNone/>
              <a:defRPr sz="1114"/>
            </a:lvl3pPr>
            <a:lvl4pPr marL="1528237" indent="0">
              <a:buNone/>
              <a:defRPr sz="1003"/>
            </a:lvl4pPr>
            <a:lvl5pPr marL="2037649" indent="0">
              <a:buNone/>
              <a:defRPr sz="1003"/>
            </a:lvl5pPr>
            <a:lvl6pPr marL="2547061" indent="0">
              <a:buNone/>
              <a:defRPr sz="1003"/>
            </a:lvl6pPr>
            <a:lvl7pPr marL="3056473" indent="0">
              <a:buNone/>
              <a:defRPr sz="1003"/>
            </a:lvl7pPr>
            <a:lvl8pPr marL="3565886" indent="0">
              <a:buNone/>
              <a:defRPr sz="1003"/>
            </a:lvl8pPr>
            <a:lvl9pPr marL="4075298" indent="0">
              <a:buNone/>
              <a:defRPr sz="1003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FFC9B0-8334-45FA-AB2C-42CA9225AAC1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286909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997032" y="5367337"/>
            <a:ext cx="6113145" cy="633645"/>
          </a:xfrm>
        </p:spPr>
        <p:txBody>
          <a:bodyPr anchor="b"/>
          <a:lstStyle>
            <a:lvl1pPr algn="l">
              <a:defRPr sz="2228" b="1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997032" y="685116"/>
            <a:ext cx="6113145" cy="4600575"/>
          </a:xfrm>
        </p:spPr>
        <p:txBody>
          <a:bodyPr/>
          <a:lstStyle>
            <a:lvl1pPr marL="0" indent="0">
              <a:buNone/>
              <a:defRPr sz="3565"/>
            </a:lvl1pPr>
            <a:lvl2pPr marL="509412" indent="0">
              <a:buNone/>
              <a:defRPr sz="3120"/>
            </a:lvl2pPr>
            <a:lvl3pPr marL="1018824" indent="0">
              <a:buNone/>
              <a:defRPr sz="2674"/>
            </a:lvl3pPr>
            <a:lvl4pPr marL="1528237" indent="0">
              <a:buNone/>
              <a:defRPr sz="2228"/>
            </a:lvl4pPr>
            <a:lvl5pPr marL="2037649" indent="0">
              <a:buNone/>
              <a:defRPr sz="2228"/>
            </a:lvl5pPr>
            <a:lvl6pPr marL="2547061" indent="0">
              <a:buNone/>
              <a:defRPr sz="2228"/>
            </a:lvl6pPr>
            <a:lvl7pPr marL="3056473" indent="0">
              <a:buNone/>
              <a:defRPr sz="2228"/>
            </a:lvl7pPr>
            <a:lvl8pPr marL="3565886" indent="0">
              <a:buNone/>
              <a:defRPr sz="2228"/>
            </a:lvl8pPr>
            <a:lvl9pPr marL="4075298" indent="0">
              <a:buNone/>
              <a:defRPr sz="2228"/>
            </a:lvl9pPr>
          </a:lstStyle>
          <a:p>
            <a:pPr lvl="0"/>
            <a:endParaRPr lang="fr-FR" noProof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997032" y="6000982"/>
            <a:ext cx="6113145" cy="899880"/>
          </a:xfrm>
        </p:spPr>
        <p:txBody>
          <a:bodyPr/>
          <a:lstStyle>
            <a:lvl1pPr marL="0" indent="0">
              <a:buNone/>
              <a:defRPr sz="1560"/>
            </a:lvl1pPr>
            <a:lvl2pPr marL="509412" indent="0">
              <a:buNone/>
              <a:defRPr sz="1337"/>
            </a:lvl2pPr>
            <a:lvl3pPr marL="1018824" indent="0">
              <a:buNone/>
              <a:defRPr sz="1114"/>
            </a:lvl3pPr>
            <a:lvl4pPr marL="1528237" indent="0">
              <a:buNone/>
              <a:defRPr sz="1003"/>
            </a:lvl4pPr>
            <a:lvl5pPr marL="2037649" indent="0">
              <a:buNone/>
              <a:defRPr sz="1003"/>
            </a:lvl5pPr>
            <a:lvl6pPr marL="2547061" indent="0">
              <a:buNone/>
              <a:defRPr sz="1003"/>
            </a:lvl6pPr>
            <a:lvl7pPr marL="3056473" indent="0">
              <a:buNone/>
              <a:defRPr sz="1003"/>
            </a:lvl7pPr>
            <a:lvl8pPr marL="3565886" indent="0">
              <a:buNone/>
              <a:defRPr sz="1003"/>
            </a:lvl8pPr>
            <a:lvl9pPr marL="4075298" indent="0">
              <a:buNone/>
              <a:defRPr sz="1003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6349AE-CE4A-4A69-AFD3-E609DCF16B07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878482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07C03C-63D8-459F-9AE5-81E70D13AD07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53783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7381411" y="596371"/>
            <a:ext cx="2285354" cy="6474883"/>
          </a:xfrm>
        </p:spPr>
        <p:txBody>
          <a:bodyPr vert="eaVert"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21812" y="596371"/>
            <a:ext cx="6689790" cy="6474883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01A228-DF28-48FB-B8A4-160E6873521E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27167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09429" y="307060"/>
            <a:ext cx="9169718" cy="127793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509429" y="1716342"/>
            <a:ext cx="4501723" cy="715289"/>
          </a:xfrm>
        </p:spPr>
        <p:txBody>
          <a:bodyPr anchor="b"/>
          <a:lstStyle>
            <a:lvl1pPr marL="0" indent="0">
              <a:buNone/>
              <a:defRPr sz="2674" b="1"/>
            </a:lvl1pPr>
            <a:lvl2pPr marL="509412" indent="0">
              <a:buNone/>
              <a:defRPr sz="2228" b="1"/>
            </a:lvl2pPr>
            <a:lvl3pPr marL="1018824" indent="0">
              <a:buNone/>
              <a:defRPr sz="2006" b="1"/>
            </a:lvl3pPr>
            <a:lvl4pPr marL="1528237" indent="0">
              <a:buNone/>
              <a:defRPr sz="1783" b="1"/>
            </a:lvl4pPr>
            <a:lvl5pPr marL="2037649" indent="0">
              <a:buNone/>
              <a:defRPr sz="1783" b="1"/>
            </a:lvl5pPr>
            <a:lvl6pPr marL="2547061" indent="0">
              <a:buNone/>
              <a:defRPr sz="1783" b="1"/>
            </a:lvl6pPr>
            <a:lvl7pPr marL="3056473" indent="0">
              <a:buNone/>
              <a:defRPr sz="1783" b="1"/>
            </a:lvl7pPr>
            <a:lvl8pPr marL="3565886" indent="0">
              <a:buNone/>
              <a:defRPr sz="1783" b="1"/>
            </a:lvl8pPr>
            <a:lvl9pPr marL="4075298" indent="0">
              <a:buNone/>
              <a:defRPr sz="1783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09429" y="2431631"/>
            <a:ext cx="4501723" cy="4417760"/>
          </a:xfrm>
        </p:spPr>
        <p:txBody>
          <a:bodyPr/>
          <a:lstStyle>
            <a:lvl1pPr>
              <a:defRPr sz="2674"/>
            </a:lvl1pPr>
            <a:lvl2pPr>
              <a:defRPr sz="2228"/>
            </a:lvl2pPr>
            <a:lvl3pPr>
              <a:defRPr sz="2006"/>
            </a:lvl3pPr>
            <a:lvl4pPr>
              <a:defRPr sz="1783"/>
            </a:lvl4pPr>
            <a:lvl5pPr>
              <a:defRPr sz="1783"/>
            </a:lvl5pPr>
            <a:lvl6pPr>
              <a:defRPr sz="1783"/>
            </a:lvl6pPr>
            <a:lvl7pPr>
              <a:defRPr sz="1783"/>
            </a:lvl7pPr>
            <a:lvl8pPr>
              <a:defRPr sz="1783"/>
            </a:lvl8pPr>
            <a:lvl9pPr>
              <a:defRPr sz="1783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5175655" y="1716342"/>
            <a:ext cx="4503492" cy="715289"/>
          </a:xfrm>
        </p:spPr>
        <p:txBody>
          <a:bodyPr anchor="b"/>
          <a:lstStyle>
            <a:lvl1pPr marL="0" indent="0">
              <a:buNone/>
              <a:defRPr sz="2674" b="1"/>
            </a:lvl1pPr>
            <a:lvl2pPr marL="509412" indent="0">
              <a:buNone/>
              <a:defRPr sz="2228" b="1"/>
            </a:lvl2pPr>
            <a:lvl3pPr marL="1018824" indent="0">
              <a:buNone/>
              <a:defRPr sz="2006" b="1"/>
            </a:lvl3pPr>
            <a:lvl4pPr marL="1528237" indent="0">
              <a:buNone/>
              <a:defRPr sz="1783" b="1"/>
            </a:lvl4pPr>
            <a:lvl5pPr marL="2037649" indent="0">
              <a:buNone/>
              <a:defRPr sz="1783" b="1"/>
            </a:lvl5pPr>
            <a:lvl6pPr marL="2547061" indent="0">
              <a:buNone/>
              <a:defRPr sz="1783" b="1"/>
            </a:lvl6pPr>
            <a:lvl7pPr marL="3056473" indent="0">
              <a:buNone/>
              <a:defRPr sz="1783" b="1"/>
            </a:lvl7pPr>
            <a:lvl8pPr marL="3565886" indent="0">
              <a:buNone/>
              <a:defRPr sz="1783" b="1"/>
            </a:lvl8pPr>
            <a:lvl9pPr marL="4075298" indent="0">
              <a:buNone/>
              <a:defRPr sz="1783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175655" y="2431631"/>
            <a:ext cx="4503492" cy="4417760"/>
          </a:xfrm>
        </p:spPr>
        <p:txBody>
          <a:bodyPr/>
          <a:lstStyle>
            <a:lvl1pPr>
              <a:defRPr sz="2674"/>
            </a:lvl1pPr>
            <a:lvl2pPr>
              <a:defRPr sz="2228"/>
            </a:lvl2pPr>
            <a:lvl3pPr>
              <a:defRPr sz="2006"/>
            </a:lvl3pPr>
            <a:lvl4pPr>
              <a:defRPr sz="1783"/>
            </a:lvl4pPr>
            <a:lvl5pPr>
              <a:defRPr sz="1783"/>
            </a:lvl5pPr>
            <a:lvl6pPr>
              <a:defRPr sz="1783"/>
            </a:lvl6pPr>
            <a:lvl7pPr>
              <a:defRPr sz="1783"/>
            </a:lvl7pPr>
            <a:lvl8pPr>
              <a:defRPr sz="1783"/>
            </a:lvl8pPr>
            <a:lvl9pPr>
              <a:defRPr sz="1783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875BC8-20AC-420F-B386-D342E4495CBF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00356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E1458-FC18-4AD8-83A4-E386A1A41013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11532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D600F7-CE69-43F8-9DDE-B9F267FF4244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40797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09429" y="305285"/>
            <a:ext cx="3351971" cy="1299236"/>
          </a:xfrm>
        </p:spPr>
        <p:txBody>
          <a:bodyPr anchor="b"/>
          <a:lstStyle>
            <a:lvl1pPr algn="l">
              <a:defRPr sz="2228" b="1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83450" y="305285"/>
            <a:ext cx="5695696" cy="6544106"/>
          </a:xfrm>
        </p:spPr>
        <p:txBody>
          <a:bodyPr/>
          <a:lstStyle>
            <a:lvl1pPr>
              <a:defRPr sz="3565"/>
            </a:lvl1pPr>
            <a:lvl2pPr>
              <a:defRPr sz="3120"/>
            </a:lvl2pPr>
            <a:lvl3pPr>
              <a:defRPr sz="2674"/>
            </a:lvl3pPr>
            <a:lvl4pPr>
              <a:defRPr sz="2228"/>
            </a:lvl4pPr>
            <a:lvl5pPr>
              <a:defRPr sz="2228"/>
            </a:lvl5pPr>
            <a:lvl6pPr>
              <a:defRPr sz="2228"/>
            </a:lvl6pPr>
            <a:lvl7pPr>
              <a:defRPr sz="2228"/>
            </a:lvl7pPr>
            <a:lvl8pPr>
              <a:defRPr sz="2228"/>
            </a:lvl8pPr>
            <a:lvl9pPr>
              <a:defRPr sz="2228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509429" y="1604522"/>
            <a:ext cx="3351971" cy="5244869"/>
          </a:xfrm>
        </p:spPr>
        <p:txBody>
          <a:bodyPr/>
          <a:lstStyle>
            <a:lvl1pPr marL="0" indent="0">
              <a:buNone/>
              <a:defRPr sz="1560"/>
            </a:lvl1pPr>
            <a:lvl2pPr marL="509412" indent="0">
              <a:buNone/>
              <a:defRPr sz="1337"/>
            </a:lvl2pPr>
            <a:lvl3pPr marL="1018824" indent="0">
              <a:buNone/>
              <a:defRPr sz="1114"/>
            </a:lvl3pPr>
            <a:lvl4pPr marL="1528237" indent="0">
              <a:buNone/>
              <a:defRPr sz="1003"/>
            </a:lvl4pPr>
            <a:lvl5pPr marL="2037649" indent="0">
              <a:buNone/>
              <a:defRPr sz="1003"/>
            </a:lvl5pPr>
            <a:lvl6pPr marL="2547061" indent="0">
              <a:buNone/>
              <a:defRPr sz="1003"/>
            </a:lvl6pPr>
            <a:lvl7pPr marL="3056473" indent="0">
              <a:buNone/>
              <a:defRPr sz="1003"/>
            </a:lvl7pPr>
            <a:lvl8pPr marL="3565886" indent="0">
              <a:buNone/>
              <a:defRPr sz="1003"/>
            </a:lvl8pPr>
            <a:lvl9pPr marL="4075298" indent="0">
              <a:buNone/>
              <a:defRPr sz="1003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FFC9B0-8334-45FA-AB2C-42CA9225AAC1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44608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997032" y="5367337"/>
            <a:ext cx="6113145" cy="633645"/>
          </a:xfrm>
        </p:spPr>
        <p:txBody>
          <a:bodyPr anchor="b"/>
          <a:lstStyle>
            <a:lvl1pPr algn="l">
              <a:defRPr sz="2228" b="1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997032" y="685116"/>
            <a:ext cx="6113145" cy="4600575"/>
          </a:xfrm>
        </p:spPr>
        <p:txBody>
          <a:bodyPr/>
          <a:lstStyle>
            <a:lvl1pPr marL="0" indent="0">
              <a:buNone/>
              <a:defRPr sz="3565"/>
            </a:lvl1pPr>
            <a:lvl2pPr marL="509412" indent="0">
              <a:buNone/>
              <a:defRPr sz="3120"/>
            </a:lvl2pPr>
            <a:lvl3pPr marL="1018824" indent="0">
              <a:buNone/>
              <a:defRPr sz="2674"/>
            </a:lvl3pPr>
            <a:lvl4pPr marL="1528237" indent="0">
              <a:buNone/>
              <a:defRPr sz="2228"/>
            </a:lvl4pPr>
            <a:lvl5pPr marL="2037649" indent="0">
              <a:buNone/>
              <a:defRPr sz="2228"/>
            </a:lvl5pPr>
            <a:lvl6pPr marL="2547061" indent="0">
              <a:buNone/>
              <a:defRPr sz="2228"/>
            </a:lvl6pPr>
            <a:lvl7pPr marL="3056473" indent="0">
              <a:buNone/>
              <a:defRPr sz="2228"/>
            </a:lvl7pPr>
            <a:lvl8pPr marL="3565886" indent="0">
              <a:buNone/>
              <a:defRPr sz="2228"/>
            </a:lvl8pPr>
            <a:lvl9pPr marL="4075298" indent="0">
              <a:buNone/>
              <a:defRPr sz="2228"/>
            </a:lvl9pPr>
          </a:lstStyle>
          <a:p>
            <a:pPr lvl="0"/>
            <a:endParaRPr lang="fr-FR" noProof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997032" y="6000982"/>
            <a:ext cx="6113145" cy="899880"/>
          </a:xfrm>
        </p:spPr>
        <p:txBody>
          <a:bodyPr/>
          <a:lstStyle>
            <a:lvl1pPr marL="0" indent="0">
              <a:buNone/>
              <a:defRPr sz="1560"/>
            </a:lvl1pPr>
            <a:lvl2pPr marL="509412" indent="0">
              <a:buNone/>
              <a:defRPr sz="1337"/>
            </a:lvl2pPr>
            <a:lvl3pPr marL="1018824" indent="0">
              <a:buNone/>
              <a:defRPr sz="1114"/>
            </a:lvl3pPr>
            <a:lvl4pPr marL="1528237" indent="0">
              <a:buNone/>
              <a:defRPr sz="1003"/>
            </a:lvl4pPr>
            <a:lvl5pPr marL="2037649" indent="0">
              <a:buNone/>
              <a:defRPr sz="1003"/>
            </a:lvl5pPr>
            <a:lvl6pPr marL="2547061" indent="0">
              <a:buNone/>
              <a:defRPr sz="1003"/>
            </a:lvl6pPr>
            <a:lvl7pPr marL="3056473" indent="0">
              <a:buNone/>
              <a:defRPr sz="1003"/>
            </a:lvl7pPr>
            <a:lvl8pPr marL="3565886" indent="0">
              <a:buNone/>
              <a:defRPr sz="1003"/>
            </a:lvl8pPr>
            <a:lvl9pPr marL="4075298" indent="0">
              <a:buNone/>
              <a:defRPr sz="1003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6349AE-CE4A-4A69-AFD3-E609DCF16B07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4538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6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2.bin"/><Relationship Id="rId20" Type="http://schemas.openxmlformats.org/officeDocument/2006/relationships/image" Target="../media/image4.jpe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18" Type="http://schemas.openxmlformats.org/officeDocument/2006/relationships/image" Target="../media/image7.emf"/><Relationship Id="rId3" Type="http://schemas.openxmlformats.org/officeDocument/2006/relationships/slideLayout" Target="../slideLayouts/slideLayout25.xml"/><Relationship Id="rId21" Type="http://schemas.openxmlformats.org/officeDocument/2006/relationships/image" Target="../media/image4.jpeg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7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6.xml"/><Relationship Id="rId10" Type="http://schemas.openxmlformats.org/officeDocument/2006/relationships/slideLayout" Target="../slideLayouts/slideLayout32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oleObject" Target="../embeddings/oleObject4.bin"/><Relationship Id="rId5" Type="http://schemas.openxmlformats.org/officeDocument/2006/relationships/tags" Target="../tags/tag8.xml"/><Relationship Id="rId4" Type="http://schemas.openxmlformats.org/officeDocument/2006/relationships/vmlDrawing" Target="../drawings/vmlDrawing4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vmlDrawing" Target="../drawings/vmlDrawing5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5.xml"/><Relationship Id="rId17" Type="http://schemas.openxmlformats.org/officeDocument/2006/relationships/image" Target="../media/image6.emf"/><Relationship Id="rId2" Type="http://schemas.openxmlformats.org/officeDocument/2006/relationships/slideLayout" Target="../slideLayouts/slideLayout38.xml"/><Relationship Id="rId16" Type="http://schemas.openxmlformats.org/officeDocument/2006/relationships/oleObject" Target="../embeddings/oleObject5.bin"/><Relationship Id="rId20" Type="http://schemas.openxmlformats.org/officeDocument/2006/relationships/image" Target="../media/image4.jpeg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tags" Target="../tags/tag10.xml"/><Relationship Id="rId10" Type="http://schemas.openxmlformats.org/officeDocument/2006/relationships/slideLayout" Target="../slideLayouts/slideLayout46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4C42E2AB-B40D-2642-BAE6-56C7E3289B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67031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" name="Diapositive think-cell" r:id="rId16" imgW="7772400" imgH="10058400" progId="TCLayout.ActiveDocument.1">
                  <p:embed/>
                </p:oleObj>
              </mc:Choice>
              <mc:Fallback>
                <p:oleObj name="Diapositive think-cell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FF3F1A5-442C-3845-B524-B519128FC0EE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312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21812" y="596371"/>
            <a:ext cx="9144954" cy="9389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969" tIns="45984" rIns="91969" bIns="4598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et modifiez le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1812" y="1705692"/>
            <a:ext cx="9144954" cy="5365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969" tIns="45984" rIns="91969" bIns="4598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Premier niveau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486404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7411219"/>
            <a:ext cx="440444" cy="26432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8105" tIns="45984" rIns="18105" bIns="45984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1114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E74783C-8AD9-427F-B37C-4155BAA7F93E}" type="slidenum">
              <a:rPr lang="fr-FR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  <p:pic>
        <p:nvPicPr>
          <p:cNvPr id="1029" name="Picture 8" descr="bonhommesPPTjaune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8182700" y="5663749"/>
            <a:ext cx="2005876" cy="2003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87109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Arial" charset="0"/>
          <a:cs typeface="Arial" charset="0"/>
        </a:defRPr>
      </a:lvl5pPr>
      <a:lvl6pPr marL="509412" algn="l" rtl="0" fontAlgn="base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Arial" charset="0"/>
          <a:cs typeface="Arial" charset="0"/>
        </a:defRPr>
      </a:lvl6pPr>
      <a:lvl7pPr marL="1018824" algn="l" rtl="0" fontAlgn="base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Arial" charset="0"/>
          <a:cs typeface="Arial" charset="0"/>
        </a:defRPr>
      </a:lvl7pPr>
      <a:lvl8pPr marL="1528237" algn="l" rtl="0" fontAlgn="base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Arial" charset="0"/>
          <a:cs typeface="Arial" charset="0"/>
        </a:defRPr>
      </a:lvl8pPr>
      <a:lvl9pPr marL="2037649" algn="l" rtl="0" fontAlgn="base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Arial" charset="0"/>
          <a:cs typeface="Arial" charset="0"/>
        </a:defRPr>
      </a:lvl9pPr>
    </p:titleStyle>
    <p:bodyStyle>
      <a:lvl1pPr marL="382059" indent="-382059" algn="l" rtl="0" eaLnBrk="0" fontAlgn="base" hangingPunct="0">
        <a:lnSpc>
          <a:spcPct val="90000"/>
        </a:lnSpc>
        <a:spcBef>
          <a:spcPct val="75000"/>
        </a:spcBef>
        <a:spcAft>
          <a:spcPct val="0"/>
        </a:spcAft>
        <a:buSzPct val="125000"/>
        <a:buBlip>
          <a:blip r:embed="rId19"/>
        </a:buBlip>
        <a:defRPr sz="2228" b="1">
          <a:solidFill>
            <a:schemeClr val="tx1"/>
          </a:solidFill>
          <a:latin typeface="+mn-lt"/>
          <a:ea typeface="+mn-ea"/>
          <a:cs typeface="+mn-cs"/>
        </a:defRPr>
      </a:lvl1pPr>
      <a:lvl2pPr marL="827795" indent="-318383" algn="l" rtl="0" eaLnBrk="0" fontAlgn="base" hangingPunct="0">
        <a:lnSpc>
          <a:spcPct val="90000"/>
        </a:lnSpc>
        <a:spcBef>
          <a:spcPct val="75000"/>
        </a:spcBef>
        <a:spcAft>
          <a:spcPct val="0"/>
        </a:spcAft>
        <a:buSzPct val="125000"/>
        <a:buBlip>
          <a:blip r:embed="rId20"/>
        </a:buBlip>
        <a:defRPr>
          <a:solidFill>
            <a:schemeClr val="tx1"/>
          </a:solidFill>
          <a:latin typeface="+mn-lt"/>
          <a:cs typeface="+mn-cs"/>
        </a:defRPr>
      </a:lvl2pPr>
      <a:lvl3pPr marL="1273531" indent="-254706" algn="l" rtl="0" eaLnBrk="0" fontAlgn="base" hangingPunct="0">
        <a:lnSpc>
          <a:spcPct val="90000"/>
        </a:lnSpc>
        <a:spcBef>
          <a:spcPct val="75000"/>
        </a:spcBef>
        <a:spcAft>
          <a:spcPct val="0"/>
        </a:spcAft>
        <a:buSzPct val="125000"/>
        <a:buFont typeface="Arial" pitchFamily="34" charset="0"/>
        <a:buChar char="−"/>
        <a:defRPr sz="1783">
          <a:solidFill>
            <a:srgbClr val="505050"/>
          </a:solidFill>
          <a:latin typeface="+mn-lt"/>
          <a:cs typeface="+mn-cs"/>
        </a:defRPr>
      </a:lvl3pPr>
      <a:lvl4pPr marL="1782943" indent="-254706" algn="l" rtl="0" eaLnBrk="0" fontAlgn="base" hangingPunct="0">
        <a:lnSpc>
          <a:spcPct val="90000"/>
        </a:lnSpc>
        <a:spcBef>
          <a:spcPct val="75000"/>
        </a:spcBef>
        <a:spcAft>
          <a:spcPct val="0"/>
        </a:spcAft>
        <a:defRPr sz="1114">
          <a:solidFill>
            <a:schemeClr val="tx1"/>
          </a:solidFill>
          <a:latin typeface="+mn-lt"/>
          <a:cs typeface="+mn-cs"/>
        </a:defRPr>
      </a:lvl4pPr>
      <a:lvl5pPr marL="2292355" indent="-254706" algn="l" rtl="0" eaLnBrk="0" fontAlgn="base" hangingPunct="0">
        <a:lnSpc>
          <a:spcPct val="90000"/>
        </a:lnSpc>
        <a:spcBef>
          <a:spcPct val="75000"/>
        </a:spcBef>
        <a:spcAft>
          <a:spcPct val="0"/>
        </a:spcAft>
        <a:defRPr sz="891">
          <a:solidFill>
            <a:schemeClr val="tx1"/>
          </a:solidFill>
          <a:latin typeface="+mn-lt"/>
          <a:cs typeface="+mn-cs"/>
        </a:defRPr>
      </a:lvl5pPr>
      <a:lvl6pPr marL="2801767" indent="-254706" algn="l" rtl="0" fontAlgn="base">
        <a:lnSpc>
          <a:spcPct val="90000"/>
        </a:lnSpc>
        <a:spcBef>
          <a:spcPct val="75000"/>
        </a:spcBef>
        <a:spcAft>
          <a:spcPct val="0"/>
        </a:spcAft>
        <a:defRPr sz="891">
          <a:solidFill>
            <a:schemeClr val="tx1"/>
          </a:solidFill>
          <a:latin typeface="+mn-lt"/>
          <a:cs typeface="+mn-cs"/>
        </a:defRPr>
      </a:lvl6pPr>
      <a:lvl7pPr marL="3311180" indent="-254706" algn="l" rtl="0" fontAlgn="base">
        <a:lnSpc>
          <a:spcPct val="90000"/>
        </a:lnSpc>
        <a:spcBef>
          <a:spcPct val="75000"/>
        </a:spcBef>
        <a:spcAft>
          <a:spcPct val="0"/>
        </a:spcAft>
        <a:defRPr sz="891">
          <a:solidFill>
            <a:schemeClr val="tx1"/>
          </a:solidFill>
          <a:latin typeface="+mn-lt"/>
          <a:cs typeface="+mn-cs"/>
        </a:defRPr>
      </a:lvl7pPr>
      <a:lvl8pPr marL="3820592" indent="-254706" algn="l" rtl="0" fontAlgn="base">
        <a:lnSpc>
          <a:spcPct val="90000"/>
        </a:lnSpc>
        <a:spcBef>
          <a:spcPct val="75000"/>
        </a:spcBef>
        <a:spcAft>
          <a:spcPct val="0"/>
        </a:spcAft>
        <a:defRPr sz="891">
          <a:solidFill>
            <a:schemeClr val="tx1"/>
          </a:solidFill>
          <a:latin typeface="+mn-lt"/>
          <a:cs typeface="+mn-cs"/>
        </a:defRPr>
      </a:lvl8pPr>
      <a:lvl9pPr marL="4330004" indent="-254706" algn="l" rtl="0" fontAlgn="base">
        <a:lnSpc>
          <a:spcPct val="90000"/>
        </a:lnSpc>
        <a:spcBef>
          <a:spcPct val="75000"/>
        </a:spcBef>
        <a:spcAft>
          <a:spcPct val="0"/>
        </a:spcAft>
        <a:defRPr sz="89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1pPr>
      <a:lvl2pPr marL="509412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2pPr>
      <a:lvl3pPr marL="1018824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3pPr>
      <a:lvl4pPr marL="1528237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4pPr>
      <a:lvl5pPr marL="2037649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5pPr>
      <a:lvl6pPr marL="2547061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6pPr>
      <a:lvl7pPr marL="3056473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7pPr>
      <a:lvl8pPr marL="3565886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8pPr>
      <a:lvl9pPr marL="4075298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2835A05F-2F41-BF4F-B8D0-967C8C1FFE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573794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1" name="Diapositive think-cell" r:id="rId16" imgW="7772400" imgH="10058400" progId="TCLayout.ActiveDocument.1">
                  <p:embed/>
                </p:oleObj>
              </mc:Choice>
              <mc:Fallback>
                <p:oleObj name="Diapositive think-cell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5ECE102-4638-6145-ABA9-8723A2BC5A6A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312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21812" y="596371"/>
            <a:ext cx="9144954" cy="9389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969" tIns="45984" rIns="91969" bIns="4598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et modifiez le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1812" y="1705692"/>
            <a:ext cx="9144954" cy="5365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969" tIns="45984" rIns="91969" bIns="4598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Premier niveau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486404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7411219"/>
            <a:ext cx="440444" cy="26432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8105" tIns="45984" rIns="18105" bIns="45984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1114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E74783C-8AD9-427F-B37C-4155BAA7F93E}" type="slidenum">
              <a:rPr lang="fr-FR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  <p:pic>
        <p:nvPicPr>
          <p:cNvPr id="1029" name="Picture 8" descr="bonhommesPPTjaune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8182700" y="5663749"/>
            <a:ext cx="2005876" cy="2003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52048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Arial" charset="0"/>
          <a:cs typeface="Arial" charset="0"/>
        </a:defRPr>
      </a:lvl5pPr>
      <a:lvl6pPr marL="509412" algn="l" rtl="0" fontAlgn="base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Arial" charset="0"/>
          <a:cs typeface="Arial" charset="0"/>
        </a:defRPr>
      </a:lvl6pPr>
      <a:lvl7pPr marL="1018824" algn="l" rtl="0" fontAlgn="base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Arial" charset="0"/>
          <a:cs typeface="Arial" charset="0"/>
        </a:defRPr>
      </a:lvl7pPr>
      <a:lvl8pPr marL="1528237" algn="l" rtl="0" fontAlgn="base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Arial" charset="0"/>
          <a:cs typeface="Arial" charset="0"/>
        </a:defRPr>
      </a:lvl8pPr>
      <a:lvl9pPr marL="2037649" algn="l" rtl="0" fontAlgn="base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Arial" charset="0"/>
          <a:cs typeface="Arial" charset="0"/>
        </a:defRPr>
      </a:lvl9pPr>
    </p:titleStyle>
    <p:bodyStyle>
      <a:lvl1pPr marL="382059" indent="-382059" algn="l" rtl="0" eaLnBrk="0" fontAlgn="base" hangingPunct="0">
        <a:lnSpc>
          <a:spcPct val="90000"/>
        </a:lnSpc>
        <a:spcBef>
          <a:spcPct val="75000"/>
        </a:spcBef>
        <a:spcAft>
          <a:spcPct val="0"/>
        </a:spcAft>
        <a:buSzPct val="125000"/>
        <a:buBlip>
          <a:blip r:embed="rId19"/>
        </a:buBlip>
        <a:defRPr sz="2228" b="1">
          <a:solidFill>
            <a:schemeClr val="tx1"/>
          </a:solidFill>
          <a:latin typeface="+mn-lt"/>
          <a:ea typeface="+mn-ea"/>
          <a:cs typeface="+mn-cs"/>
        </a:defRPr>
      </a:lvl1pPr>
      <a:lvl2pPr marL="827795" indent="-318383" algn="l" rtl="0" eaLnBrk="0" fontAlgn="base" hangingPunct="0">
        <a:lnSpc>
          <a:spcPct val="90000"/>
        </a:lnSpc>
        <a:spcBef>
          <a:spcPct val="75000"/>
        </a:spcBef>
        <a:spcAft>
          <a:spcPct val="0"/>
        </a:spcAft>
        <a:buSzPct val="125000"/>
        <a:buBlip>
          <a:blip r:embed="rId20"/>
        </a:buBlip>
        <a:defRPr>
          <a:solidFill>
            <a:schemeClr val="tx1"/>
          </a:solidFill>
          <a:latin typeface="+mn-lt"/>
          <a:cs typeface="+mn-cs"/>
        </a:defRPr>
      </a:lvl2pPr>
      <a:lvl3pPr marL="1273531" indent="-254706" algn="l" rtl="0" eaLnBrk="0" fontAlgn="base" hangingPunct="0">
        <a:lnSpc>
          <a:spcPct val="90000"/>
        </a:lnSpc>
        <a:spcBef>
          <a:spcPct val="75000"/>
        </a:spcBef>
        <a:spcAft>
          <a:spcPct val="0"/>
        </a:spcAft>
        <a:buSzPct val="125000"/>
        <a:buFont typeface="Arial" pitchFamily="34" charset="0"/>
        <a:buChar char="−"/>
        <a:defRPr sz="1783">
          <a:solidFill>
            <a:srgbClr val="505050"/>
          </a:solidFill>
          <a:latin typeface="+mn-lt"/>
          <a:cs typeface="+mn-cs"/>
        </a:defRPr>
      </a:lvl3pPr>
      <a:lvl4pPr marL="1782943" indent="-254706" algn="l" rtl="0" eaLnBrk="0" fontAlgn="base" hangingPunct="0">
        <a:lnSpc>
          <a:spcPct val="90000"/>
        </a:lnSpc>
        <a:spcBef>
          <a:spcPct val="75000"/>
        </a:spcBef>
        <a:spcAft>
          <a:spcPct val="0"/>
        </a:spcAft>
        <a:defRPr sz="1114">
          <a:solidFill>
            <a:schemeClr val="tx1"/>
          </a:solidFill>
          <a:latin typeface="+mn-lt"/>
          <a:cs typeface="+mn-cs"/>
        </a:defRPr>
      </a:lvl4pPr>
      <a:lvl5pPr marL="2292355" indent="-254706" algn="l" rtl="0" eaLnBrk="0" fontAlgn="base" hangingPunct="0">
        <a:lnSpc>
          <a:spcPct val="90000"/>
        </a:lnSpc>
        <a:spcBef>
          <a:spcPct val="75000"/>
        </a:spcBef>
        <a:spcAft>
          <a:spcPct val="0"/>
        </a:spcAft>
        <a:defRPr sz="891">
          <a:solidFill>
            <a:schemeClr val="tx1"/>
          </a:solidFill>
          <a:latin typeface="+mn-lt"/>
          <a:cs typeface="+mn-cs"/>
        </a:defRPr>
      </a:lvl5pPr>
      <a:lvl6pPr marL="2801767" indent="-254706" algn="l" rtl="0" fontAlgn="base">
        <a:lnSpc>
          <a:spcPct val="90000"/>
        </a:lnSpc>
        <a:spcBef>
          <a:spcPct val="75000"/>
        </a:spcBef>
        <a:spcAft>
          <a:spcPct val="0"/>
        </a:spcAft>
        <a:defRPr sz="891">
          <a:solidFill>
            <a:schemeClr val="tx1"/>
          </a:solidFill>
          <a:latin typeface="+mn-lt"/>
          <a:cs typeface="+mn-cs"/>
        </a:defRPr>
      </a:lvl6pPr>
      <a:lvl7pPr marL="3311180" indent="-254706" algn="l" rtl="0" fontAlgn="base">
        <a:lnSpc>
          <a:spcPct val="90000"/>
        </a:lnSpc>
        <a:spcBef>
          <a:spcPct val="75000"/>
        </a:spcBef>
        <a:spcAft>
          <a:spcPct val="0"/>
        </a:spcAft>
        <a:defRPr sz="891">
          <a:solidFill>
            <a:schemeClr val="tx1"/>
          </a:solidFill>
          <a:latin typeface="+mn-lt"/>
          <a:cs typeface="+mn-cs"/>
        </a:defRPr>
      </a:lvl7pPr>
      <a:lvl8pPr marL="3820592" indent="-254706" algn="l" rtl="0" fontAlgn="base">
        <a:lnSpc>
          <a:spcPct val="90000"/>
        </a:lnSpc>
        <a:spcBef>
          <a:spcPct val="75000"/>
        </a:spcBef>
        <a:spcAft>
          <a:spcPct val="0"/>
        </a:spcAft>
        <a:defRPr sz="891">
          <a:solidFill>
            <a:schemeClr val="tx1"/>
          </a:solidFill>
          <a:latin typeface="+mn-lt"/>
          <a:cs typeface="+mn-cs"/>
        </a:defRPr>
      </a:lvl8pPr>
      <a:lvl9pPr marL="4330004" indent="-254706" algn="l" rtl="0" fontAlgn="base">
        <a:lnSpc>
          <a:spcPct val="90000"/>
        </a:lnSpc>
        <a:spcBef>
          <a:spcPct val="75000"/>
        </a:spcBef>
        <a:spcAft>
          <a:spcPct val="0"/>
        </a:spcAft>
        <a:defRPr sz="89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1pPr>
      <a:lvl2pPr marL="509412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2pPr>
      <a:lvl3pPr marL="1018824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3pPr>
      <a:lvl4pPr marL="1528237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4pPr>
      <a:lvl5pPr marL="2037649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5pPr>
      <a:lvl6pPr marL="2547061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6pPr>
      <a:lvl7pPr marL="3056473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7pPr>
      <a:lvl8pPr marL="3565886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8pPr>
      <a:lvl9pPr marL="4075298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1DC00EB4-4DB0-EA46-B038-F256AE2CA0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6947899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19" name="Diapositive think-cell" r:id="rId17" imgW="7772400" imgH="10058400" progId="TCLayout.ActiveDocument.1">
                  <p:embed/>
                </p:oleObj>
              </mc:Choice>
              <mc:Fallback>
                <p:oleObj name="Diapositive think-cell" r:id="rId17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0564F30-FCF4-2F45-A5CB-E7D366C0A2A5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312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21814" y="596371"/>
            <a:ext cx="9144954" cy="9389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969" tIns="45984" rIns="91969" bIns="4598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et modifiez le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1814" y="1705692"/>
            <a:ext cx="9144954" cy="5365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969" tIns="45984" rIns="91969" bIns="4598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Premier niveau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486404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" y="7411219"/>
            <a:ext cx="440444" cy="26432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8105" tIns="45984" rIns="18105" bIns="45984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1114" b="1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/>
              <a:t>1</a:t>
            </a:r>
          </a:p>
        </p:txBody>
      </p:sp>
      <p:pic>
        <p:nvPicPr>
          <p:cNvPr id="1029" name="Picture 8" descr="bonhommesPPTjaune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8182701" y="5663754"/>
            <a:ext cx="2005876" cy="2003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10299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hf hdr="0" ft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Arial" charset="0"/>
          <a:cs typeface="Arial" charset="0"/>
        </a:defRPr>
      </a:lvl5pPr>
      <a:lvl6pPr marL="509412" algn="l" rtl="0" fontAlgn="base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Arial" charset="0"/>
          <a:cs typeface="Arial" charset="0"/>
        </a:defRPr>
      </a:lvl6pPr>
      <a:lvl7pPr marL="1018824" algn="l" rtl="0" fontAlgn="base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Arial" charset="0"/>
          <a:cs typeface="Arial" charset="0"/>
        </a:defRPr>
      </a:lvl7pPr>
      <a:lvl8pPr marL="1528237" algn="l" rtl="0" fontAlgn="base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Arial" charset="0"/>
          <a:cs typeface="Arial" charset="0"/>
        </a:defRPr>
      </a:lvl8pPr>
      <a:lvl9pPr marL="2037649" algn="l" rtl="0" fontAlgn="base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Arial" charset="0"/>
          <a:cs typeface="Arial" charset="0"/>
        </a:defRPr>
      </a:lvl9pPr>
    </p:titleStyle>
    <p:bodyStyle>
      <a:lvl1pPr marL="382059" indent="-382059" algn="l" rtl="0" eaLnBrk="0" fontAlgn="base" hangingPunct="0">
        <a:lnSpc>
          <a:spcPct val="90000"/>
        </a:lnSpc>
        <a:spcBef>
          <a:spcPct val="75000"/>
        </a:spcBef>
        <a:spcAft>
          <a:spcPct val="0"/>
        </a:spcAft>
        <a:buSzPct val="125000"/>
        <a:buBlip>
          <a:blip r:embed="rId20"/>
        </a:buBlip>
        <a:defRPr sz="2228" b="1">
          <a:solidFill>
            <a:schemeClr val="tx1"/>
          </a:solidFill>
          <a:latin typeface="+mn-lt"/>
          <a:ea typeface="+mn-ea"/>
          <a:cs typeface="+mn-cs"/>
        </a:defRPr>
      </a:lvl1pPr>
      <a:lvl2pPr marL="827795" indent="-318383" algn="l" rtl="0" eaLnBrk="0" fontAlgn="base" hangingPunct="0">
        <a:lnSpc>
          <a:spcPct val="90000"/>
        </a:lnSpc>
        <a:spcBef>
          <a:spcPct val="75000"/>
        </a:spcBef>
        <a:spcAft>
          <a:spcPct val="0"/>
        </a:spcAft>
        <a:buSzPct val="125000"/>
        <a:buBlip>
          <a:blip r:embed="rId21"/>
        </a:buBlip>
        <a:defRPr>
          <a:solidFill>
            <a:schemeClr val="tx1"/>
          </a:solidFill>
          <a:latin typeface="+mn-lt"/>
          <a:cs typeface="+mn-cs"/>
        </a:defRPr>
      </a:lvl2pPr>
      <a:lvl3pPr marL="1273531" indent="-254706" algn="l" rtl="0" eaLnBrk="0" fontAlgn="base" hangingPunct="0">
        <a:lnSpc>
          <a:spcPct val="90000"/>
        </a:lnSpc>
        <a:spcBef>
          <a:spcPct val="75000"/>
        </a:spcBef>
        <a:spcAft>
          <a:spcPct val="0"/>
        </a:spcAft>
        <a:buSzPct val="125000"/>
        <a:buFont typeface="Arial" pitchFamily="34" charset="0"/>
        <a:buChar char="−"/>
        <a:defRPr sz="1783">
          <a:solidFill>
            <a:srgbClr val="505050"/>
          </a:solidFill>
          <a:latin typeface="+mn-lt"/>
          <a:cs typeface="+mn-cs"/>
        </a:defRPr>
      </a:lvl3pPr>
      <a:lvl4pPr marL="1782943" indent="-254706" algn="l" rtl="0" eaLnBrk="0" fontAlgn="base" hangingPunct="0">
        <a:lnSpc>
          <a:spcPct val="90000"/>
        </a:lnSpc>
        <a:spcBef>
          <a:spcPct val="75000"/>
        </a:spcBef>
        <a:spcAft>
          <a:spcPct val="0"/>
        </a:spcAft>
        <a:defRPr sz="1114">
          <a:solidFill>
            <a:schemeClr val="tx1"/>
          </a:solidFill>
          <a:latin typeface="+mn-lt"/>
          <a:cs typeface="+mn-cs"/>
        </a:defRPr>
      </a:lvl4pPr>
      <a:lvl5pPr marL="2292355" indent="-254706" algn="l" rtl="0" eaLnBrk="0" fontAlgn="base" hangingPunct="0">
        <a:lnSpc>
          <a:spcPct val="90000"/>
        </a:lnSpc>
        <a:spcBef>
          <a:spcPct val="75000"/>
        </a:spcBef>
        <a:spcAft>
          <a:spcPct val="0"/>
        </a:spcAft>
        <a:defRPr sz="891">
          <a:solidFill>
            <a:schemeClr val="tx1"/>
          </a:solidFill>
          <a:latin typeface="+mn-lt"/>
          <a:cs typeface="+mn-cs"/>
        </a:defRPr>
      </a:lvl5pPr>
      <a:lvl6pPr marL="2801767" indent="-254706" algn="l" rtl="0" fontAlgn="base">
        <a:lnSpc>
          <a:spcPct val="90000"/>
        </a:lnSpc>
        <a:spcBef>
          <a:spcPct val="75000"/>
        </a:spcBef>
        <a:spcAft>
          <a:spcPct val="0"/>
        </a:spcAft>
        <a:defRPr sz="891">
          <a:solidFill>
            <a:schemeClr val="tx1"/>
          </a:solidFill>
          <a:latin typeface="+mn-lt"/>
          <a:cs typeface="+mn-cs"/>
        </a:defRPr>
      </a:lvl6pPr>
      <a:lvl7pPr marL="3311180" indent="-254706" algn="l" rtl="0" fontAlgn="base">
        <a:lnSpc>
          <a:spcPct val="90000"/>
        </a:lnSpc>
        <a:spcBef>
          <a:spcPct val="75000"/>
        </a:spcBef>
        <a:spcAft>
          <a:spcPct val="0"/>
        </a:spcAft>
        <a:defRPr sz="891">
          <a:solidFill>
            <a:schemeClr val="tx1"/>
          </a:solidFill>
          <a:latin typeface="+mn-lt"/>
          <a:cs typeface="+mn-cs"/>
        </a:defRPr>
      </a:lvl7pPr>
      <a:lvl8pPr marL="3820592" indent="-254706" algn="l" rtl="0" fontAlgn="base">
        <a:lnSpc>
          <a:spcPct val="90000"/>
        </a:lnSpc>
        <a:spcBef>
          <a:spcPct val="75000"/>
        </a:spcBef>
        <a:spcAft>
          <a:spcPct val="0"/>
        </a:spcAft>
        <a:defRPr sz="891">
          <a:solidFill>
            <a:schemeClr val="tx1"/>
          </a:solidFill>
          <a:latin typeface="+mn-lt"/>
          <a:cs typeface="+mn-cs"/>
        </a:defRPr>
      </a:lvl8pPr>
      <a:lvl9pPr marL="4330004" indent="-254706" algn="l" rtl="0" fontAlgn="base">
        <a:lnSpc>
          <a:spcPct val="90000"/>
        </a:lnSpc>
        <a:spcBef>
          <a:spcPct val="75000"/>
        </a:spcBef>
        <a:spcAft>
          <a:spcPct val="0"/>
        </a:spcAft>
        <a:defRPr sz="89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1pPr>
      <a:lvl2pPr marL="509412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2pPr>
      <a:lvl3pPr marL="1018824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3pPr>
      <a:lvl4pPr marL="1528237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4pPr>
      <a:lvl5pPr marL="2037649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5pPr>
      <a:lvl6pPr marL="2547061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6pPr>
      <a:lvl7pPr marL="3056473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7pPr>
      <a:lvl8pPr marL="3565886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8pPr>
      <a:lvl9pPr marL="4075298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8EF202D3-D8C1-354A-A5BF-30D9C8F8A2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7154527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31" name="Diapositive think-cell" r:id="rId6" imgW="7772400" imgH="10058400" progId="TCLayout.ActiveDocument.1">
                  <p:embed/>
                </p:oleObj>
              </mc:Choice>
              <mc:Fallback>
                <p:oleObj name="Diapositive think-cell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73630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</p:sldLayoutIdLst>
  <p:transition>
    <p:fade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4525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525">
          <a:solidFill>
            <a:schemeClr val="tx1"/>
          </a:solidFill>
          <a:latin typeface="Trebuchet MS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525">
          <a:solidFill>
            <a:schemeClr val="tx1"/>
          </a:solidFill>
          <a:latin typeface="Trebuchet MS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525">
          <a:solidFill>
            <a:schemeClr val="tx1"/>
          </a:solidFill>
          <a:latin typeface="Trebuchet MS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525">
          <a:solidFill>
            <a:schemeClr val="tx1"/>
          </a:solidFill>
          <a:latin typeface="Trebuchet MS" pitchFamily="34" charset="0"/>
        </a:defRPr>
      </a:lvl5pPr>
      <a:lvl6pPr marL="470230" algn="ctr" rtl="0" fontAlgn="base">
        <a:spcBef>
          <a:spcPct val="0"/>
        </a:spcBef>
        <a:spcAft>
          <a:spcPct val="0"/>
        </a:spcAft>
        <a:defRPr sz="4525">
          <a:solidFill>
            <a:schemeClr val="tx1"/>
          </a:solidFill>
          <a:latin typeface="Trebuchet MS" pitchFamily="34" charset="0"/>
        </a:defRPr>
      </a:lvl6pPr>
      <a:lvl7pPr marL="940460" algn="ctr" rtl="0" fontAlgn="base">
        <a:spcBef>
          <a:spcPct val="0"/>
        </a:spcBef>
        <a:spcAft>
          <a:spcPct val="0"/>
        </a:spcAft>
        <a:defRPr sz="4525">
          <a:solidFill>
            <a:schemeClr val="tx1"/>
          </a:solidFill>
          <a:latin typeface="Trebuchet MS" pitchFamily="34" charset="0"/>
        </a:defRPr>
      </a:lvl7pPr>
      <a:lvl8pPr marL="1410691" algn="ctr" rtl="0" fontAlgn="base">
        <a:spcBef>
          <a:spcPct val="0"/>
        </a:spcBef>
        <a:spcAft>
          <a:spcPct val="0"/>
        </a:spcAft>
        <a:defRPr sz="4525">
          <a:solidFill>
            <a:schemeClr val="tx1"/>
          </a:solidFill>
          <a:latin typeface="Trebuchet MS" pitchFamily="34" charset="0"/>
        </a:defRPr>
      </a:lvl8pPr>
      <a:lvl9pPr marL="1880921" algn="ctr" rtl="0" fontAlgn="base">
        <a:spcBef>
          <a:spcPct val="0"/>
        </a:spcBef>
        <a:spcAft>
          <a:spcPct val="0"/>
        </a:spcAft>
        <a:defRPr sz="4525">
          <a:solidFill>
            <a:schemeClr val="tx1"/>
          </a:solidFill>
          <a:latin typeface="Trebuchet MS" pitchFamily="34" charset="0"/>
        </a:defRPr>
      </a:lvl9pPr>
    </p:titleStyle>
    <p:bodyStyle>
      <a:lvl1pPr marL="352673" indent="-352673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91" kern="1200">
          <a:solidFill>
            <a:schemeClr val="tx1"/>
          </a:solidFill>
          <a:latin typeface="+mn-lt"/>
          <a:ea typeface="+mn-ea"/>
          <a:cs typeface="+mn-cs"/>
        </a:defRPr>
      </a:lvl1pPr>
      <a:lvl2pPr marL="764124" indent="-293894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80" kern="1200">
          <a:solidFill>
            <a:schemeClr val="tx1"/>
          </a:solidFill>
          <a:latin typeface="+mn-lt"/>
          <a:ea typeface="+mn-ea"/>
          <a:cs typeface="+mn-cs"/>
        </a:defRPr>
      </a:lvl2pPr>
      <a:lvl3pPr marL="1175576" indent="-23511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68" kern="1200">
          <a:solidFill>
            <a:schemeClr val="tx1"/>
          </a:solidFill>
          <a:latin typeface="+mn-lt"/>
          <a:ea typeface="+mn-ea"/>
          <a:cs typeface="+mn-cs"/>
        </a:defRPr>
      </a:lvl3pPr>
      <a:lvl4pPr marL="1645806" indent="-23511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57" kern="1200">
          <a:solidFill>
            <a:schemeClr val="tx1"/>
          </a:solidFill>
          <a:latin typeface="+mn-lt"/>
          <a:ea typeface="+mn-ea"/>
          <a:cs typeface="+mn-cs"/>
        </a:defRPr>
      </a:lvl4pPr>
      <a:lvl5pPr marL="2116036" indent="-23511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57" kern="1200">
          <a:solidFill>
            <a:schemeClr val="tx1"/>
          </a:solidFill>
          <a:latin typeface="+mn-lt"/>
          <a:ea typeface="+mn-ea"/>
          <a:cs typeface="+mn-cs"/>
        </a:defRPr>
      </a:lvl5pPr>
      <a:lvl6pPr marL="2586266" indent="-235115" algn="l" defTabSz="940460" rtl="0" eaLnBrk="1" latinLnBrk="0" hangingPunct="1">
        <a:spcBef>
          <a:spcPct val="20000"/>
        </a:spcBef>
        <a:buFont typeface="Arial" pitchFamily="34" charset="0"/>
        <a:buChar char="•"/>
        <a:defRPr sz="2057" kern="1200">
          <a:solidFill>
            <a:schemeClr val="tx1"/>
          </a:solidFill>
          <a:latin typeface="+mn-lt"/>
          <a:ea typeface="+mn-ea"/>
          <a:cs typeface="+mn-cs"/>
        </a:defRPr>
      </a:lvl6pPr>
      <a:lvl7pPr marL="3056496" indent="-235115" algn="l" defTabSz="940460" rtl="0" eaLnBrk="1" latinLnBrk="0" hangingPunct="1">
        <a:spcBef>
          <a:spcPct val="20000"/>
        </a:spcBef>
        <a:buFont typeface="Arial" pitchFamily="34" charset="0"/>
        <a:buChar char="•"/>
        <a:defRPr sz="2057" kern="1200">
          <a:solidFill>
            <a:schemeClr val="tx1"/>
          </a:solidFill>
          <a:latin typeface="+mn-lt"/>
          <a:ea typeface="+mn-ea"/>
          <a:cs typeface="+mn-cs"/>
        </a:defRPr>
      </a:lvl7pPr>
      <a:lvl8pPr marL="3526727" indent="-235115" algn="l" defTabSz="940460" rtl="0" eaLnBrk="1" latinLnBrk="0" hangingPunct="1">
        <a:spcBef>
          <a:spcPct val="20000"/>
        </a:spcBef>
        <a:buFont typeface="Arial" pitchFamily="34" charset="0"/>
        <a:buChar char="•"/>
        <a:defRPr sz="2057" kern="1200">
          <a:solidFill>
            <a:schemeClr val="tx1"/>
          </a:solidFill>
          <a:latin typeface="+mn-lt"/>
          <a:ea typeface="+mn-ea"/>
          <a:cs typeface="+mn-cs"/>
        </a:defRPr>
      </a:lvl8pPr>
      <a:lvl9pPr marL="3996957" indent="-235115" algn="l" defTabSz="940460" rtl="0" eaLnBrk="1" latinLnBrk="0" hangingPunct="1">
        <a:spcBef>
          <a:spcPct val="20000"/>
        </a:spcBef>
        <a:buFont typeface="Arial" pitchFamily="34" charset="0"/>
        <a:buChar char="•"/>
        <a:defRPr sz="205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40460" rtl="0" eaLnBrk="1" latinLnBrk="0" hangingPunct="1">
        <a:defRPr sz="1851" kern="1200">
          <a:solidFill>
            <a:schemeClr val="tx1"/>
          </a:solidFill>
          <a:latin typeface="+mn-lt"/>
          <a:ea typeface="+mn-ea"/>
          <a:cs typeface="+mn-cs"/>
        </a:defRPr>
      </a:lvl1pPr>
      <a:lvl2pPr marL="470230" algn="l" defTabSz="940460" rtl="0" eaLnBrk="1" latinLnBrk="0" hangingPunct="1">
        <a:defRPr sz="1851" kern="1200">
          <a:solidFill>
            <a:schemeClr val="tx1"/>
          </a:solidFill>
          <a:latin typeface="+mn-lt"/>
          <a:ea typeface="+mn-ea"/>
          <a:cs typeface="+mn-cs"/>
        </a:defRPr>
      </a:lvl2pPr>
      <a:lvl3pPr marL="940460" algn="l" defTabSz="940460" rtl="0" eaLnBrk="1" latinLnBrk="0" hangingPunct="1">
        <a:defRPr sz="1851" kern="1200">
          <a:solidFill>
            <a:schemeClr val="tx1"/>
          </a:solidFill>
          <a:latin typeface="+mn-lt"/>
          <a:ea typeface="+mn-ea"/>
          <a:cs typeface="+mn-cs"/>
        </a:defRPr>
      </a:lvl3pPr>
      <a:lvl4pPr marL="1410691" algn="l" defTabSz="940460" rtl="0" eaLnBrk="1" latinLnBrk="0" hangingPunct="1">
        <a:defRPr sz="1851" kern="1200">
          <a:solidFill>
            <a:schemeClr val="tx1"/>
          </a:solidFill>
          <a:latin typeface="+mn-lt"/>
          <a:ea typeface="+mn-ea"/>
          <a:cs typeface="+mn-cs"/>
        </a:defRPr>
      </a:lvl4pPr>
      <a:lvl5pPr marL="1880921" algn="l" defTabSz="940460" rtl="0" eaLnBrk="1" latinLnBrk="0" hangingPunct="1">
        <a:defRPr sz="1851" kern="1200">
          <a:solidFill>
            <a:schemeClr val="tx1"/>
          </a:solidFill>
          <a:latin typeface="+mn-lt"/>
          <a:ea typeface="+mn-ea"/>
          <a:cs typeface="+mn-cs"/>
        </a:defRPr>
      </a:lvl5pPr>
      <a:lvl6pPr marL="2351151" algn="l" defTabSz="940460" rtl="0" eaLnBrk="1" latinLnBrk="0" hangingPunct="1">
        <a:defRPr sz="1851" kern="1200">
          <a:solidFill>
            <a:schemeClr val="tx1"/>
          </a:solidFill>
          <a:latin typeface="+mn-lt"/>
          <a:ea typeface="+mn-ea"/>
          <a:cs typeface="+mn-cs"/>
        </a:defRPr>
      </a:lvl6pPr>
      <a:lvl7pPr marL="2821381" algn="l" defTabSz="940460" rtl="0" eaLnBrk="1" latinLnBrk="0" hangingPunct="1">
        <a:defRPr sz="1851" kern="1200">
          <a:solidFill>
            <a:schemeClr val="tx1"/>
          </a:solidFill>
          <a:latin typeface="+mn-lt"/>
          <a:ea typeface="+mn-ea"/>
          <a:cs typeface="+mn-cs"/>
        </a:defRPr>
      </a:lvl7pPr>
      <a:lvl8pPr marL="3291611" algn="l" defTabSz="940460" rtl="0" eaLnBrk="1" latinLnBrk="0" hangingPunct="1">
        <a:defRPr sz="1851" kern="1200">
          <a:solidFill>
            <a:schemeClr val="tx1"/>
          </a:solidFill>
          <a:latin typeface="+mn-lt"/>
          <a:ea typeface="+mn-ea"/>
          <a:cs typeface="+mn-cs"/>
        </a:defRPr>
      </a:lvl8pPr>
      <a:lvl9pPr marL="3761842" algn="l" defTabSz="940460" rtl="0" eaLnBrk="1" latinLnBrk="0" hangingPunct="1">
        <a:defRPr sz="18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2835A05F-2F41-BF4F-B8D0-967C8C1FFE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91" name="Diapositive think-cell" r:id="rId16" imgW="7772400" imgH="10058400" progId="TCLayout.ActiveDocument.1">
                  <p:embed/>
                </p:oleObj>
              </mc:Choice>
              <mc:Fallback>
                <p:oleObj name="Diapositive think-cell" r:id="rId16" imgW="7772400" imgH="1005840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2835A05F-2F41-BF4F-B8D0-967C8C1FFE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5ECE102-4638-6145-ABA9-8723A2BC5A6A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312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21812" y="596371"/>
            <a:ext cx="9144954" cy="9389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969" tIns="45984" rIns="91969" bIns="4598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et modifiez le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1812" y="1705692"/>
            <a:ext cx="9144954" cy="5365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969" tIns="45984" rIns="91969" bIns="4598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Premier niveau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486404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7411219"/>
            <a:ext cx="440444" cy="26432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8105" tIns="45984" rIns="18105" bIns="45984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1114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E74783C-8AD9-427F-B37C-4155BAA7F93E}" type="slidenum">
              <a:rPr lang="fr-FR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  <p:pic>
        <p:nvPicPr>
          <p:cNvPr id="1029" name="Picture 8" descr="bonhommesPPTjaune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8182700" y="5663749"/>
            <a:ext cx="2005876" cy="2003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54848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</p:sldLayoutIdLst>
  <p:hf hdr="0" ft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Arial" charset="0"/>
          <a:cs typeface="Arial" charset="0"/>
        </a:defRPr>
      </a:lvl5pPr>
      <a:lvl6pPr marL="509412" algn="l" rtl="0" fontAlgn="base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Arial" charset="0"/>
          <a:cs typeface="Arial" charset="0"/>
        </a:defRPr>
      </a:lvl6pPr>
      <a:lvl7pPr marL="1018824" algn="l" rtl="0" fontAlgn="base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Arial" charset="0"/>
          <a:cs typeface="Arial" charset="0"/>
        </a:defRPr>
      </a:lvl7pPr>
      <a:lvl8pPr marL="1528237" algn="l" rtl="0" fontAlgn="base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Arial" charset="0"/>
          <a:cs typeface="Arial" charset="0"/>
        </a:defRPr>
      </a:lvl8pPr>
      <a:lvl9pPr marL="2037649" algn="l" rtl="0" fontAlgn="base">
        <a:lnSpc>
          <a:spcPct val="85000"/>
        </a:lnSpc>
        <a:spcBef>
          <a:spcPct val="0"/>
        </a:spcBef>
        <a:spcAft>
          <a:spcPct val="0"/>
        </a:spcAft>
        <a:defRPr sz="3120" b="1">
          <a:solidFill>
            <a:srgbClr val="004272"/>
          </a:solidFill>
          <a:latin typeface="Arial" charset="0"/>
          <a:cs typeface="Arial" charset="0"/>
        </a:defRPr>
      </a:lvl9pPr>
    </p:titleStyle>
    <p:bodyStyle>
      <a:lvl1pPr marL="382059" indent="-382059" algn="l" rtl="0" eaLnBrk="0" fontAlgn="base" hangingPunct="0">
        <a:lnSpc>
          <a:spcPct val="90000"/>
        </a:lnSpc>
        <a:spcBef>
          <a:spcPct val="75000"/>
        </a:spcBef>
        <a:spcAft>
          <a:spcPct val="0"/>
        </a:spcAft>
        <a:buSzPct val="125000"/>
        <a:buBlip>
          <a:blip r:embed="rId19"/>
        </a:buBlip>
        <a:defRPr sz="2228" b="1">
          <a:solidFill>
            <a:schemeClr val="tx1"/>
          </a:solidFill>
          <a:latin typeface="+mn-lt"/>
          <a:ea typeface="+mn-ea"/>
          <a:cs typeface="+mn-cs"/>
        </a:defRPr>
      </a:lvl1pPr>
      <a:lvl2pPr marL="827795" indent="-318383" algn="l" rtl="0" eaLnBrk="0" fontAlgn="base" hangingPunct="0">
        <a:lnSpc>
          <a:spcPct val="90000"/>
        </a:lnSpc>
        <a:spcBef>
          <a:spcPct val="75000"/>
        </a:spcBef>
        <a:spcAft>
          <a:spcPct val="0"/>
        </a:spcAft>
        <a:buSzPct val="125000"/>
        <a:buBlip>
          <a:blip r:embed="rId20"/>
        </a:buBlip>
        <a:defRPr>
          <a:solidFill>
            <a:schemeClr val="tx1"/>
          </a:solidFill>
          <a:latin typeface="+mn-lt"/>
          <a:cs typeface="+mn-cs"/>
        </a:defRPr>
      </a:lvl2pPr>
      <a:lvl3pPr marL="1273531" indent="-254706" algn="l" rtl="0" eaLnBrk="0" fontAlgn="base" hangingPunct="0">
        <a:lnSpc>
          <a:spcPct val="90000"/>
        </a:lnSpc>
        <a:spcBef>
          <a:spcPct val="75000"/>
        </a:spcBef>
        <a:spcAft>
          <a:spcPct val="0"/>
        </a:spcAft>
        <a:buSzPct val="125000"/>
        <a:buFont typeface="Arial" pitchFamily="34" charset="0"/>
        <a:buChar char="−"/>
        <a:defRPr sz="1783">
          <a:solidFill>
            <a:srgbClr val="505050"/>
          </a:solidFill>
          <a:latin typeface="+mn-lt"/>
          <a:cs typeface="+mn-cs"/>
        </a:defRPr>
      </a:lvl3pPr>
      <a:lvl4pPr marL="1782943" indent="-254706" algn="l" rtl="0" eaLnBrk="0" fontAlgn="base" hangingPunct="0">
        <a:lnSpc>
          <a:spcPct val="90000"/>
        </a:lnSpc>
        <a:spcBef>
          <a:spcPct val="75000"/>
        </a:spcBef>
        <a:spcAft>
          <a:spcPct val="0"/>
        </a:spcAft>
        <a:defRPr sz="1114">
          <a:solidFill>
            <a:schemeClr val="tx1"/>
          </a:solidFill>
          <a:latin typeface="+mn-lt"/>
          <a:cs typeface="+mn-cs"/>
        </a:defRPr>
      </a:lvl4pPr>
      <a:lvl5pPr marL="2292355" indent="-254706" algn="l" rtl="0" eaLnBrk="0" fontAlgn="base" hangingPunct="0">
        <a:lnSpc>
          <a:spcPct val="90000"/>
        </a:lnSpc>
        <a:spcBef>
          <a:spcPct val="75000"/>
        </a:spcBef>
        <a:spcAft>
          <a:spcPct val="0"/>
        </a:spcAft>
        <a:defRPr sz="891">
          <a:solidFill>
            <a:schemeClr val="tx1"/>
          </a:solidFill>
          <a:latin typeface="+mn-lt"/>
          <a:cs typeface="+mn-cs"/>
        </a:defRPr>
      </a:lvl5pPr>
      <a:lvl6pPr marL="2801767" indent="-254706" algn="l" rtl="0" fontAlgn="base">
        <a:lnSpc>
          <a:spcPct val="90000"/>
        </a:lnSpc>
        <a:spcBef>
          <a:spcPct val="75000"/>
        </a:spcBef>
        <a:spcAft>
          <a:spcPct val="0"/>
        </a:spcAft>
        <a:defRPr sz="891">
          <a:solidFill>
            <a:schemeClr val="tx1"/>
          </a:solidFill>
          <a:latin typeface="+mn-lt"/>
          <a:cs typeface="+mn-cs"/>
        </a:defRPr>
      </a:lvl6pPr>
      <a:lvl7pPr marL="3311180" indent="-254706" algn="l" rtl="0" fontAlgn="base">
        <a:lnSpc>
          <a:spcPct val="90000"/>
        </a:lnSpc>
        <a:spcBef>
          <a:spcPct val="75000"/>
        </a:spcBef>
        <a:spcAft>
          <a:spcPct val="0"/>
        </a:spcAft>
        <a:defRPr sz="891">
          <a:solidFill>
            <a:schemeClr val="tx1"/>
          </a:solidFill>
          <a:latin typeface="+mn-lt"/>
          <a:cs typeface="+mn-cs"/>
        </a:defRPr>
      </a:lvl7pPr>
      <a:lvl8pPr marL="3820592" indent="-254706" algn="l" rtl="0" fontAlgn="base">
        <a:lnSpc>
          <a:spcPct val="90000"/>
        </a:lnSpc>
        <a:spcBef>
          <a:spcPct val="75000"/>
        </a:spcBef>
        <a:spcAft>
          <a:spcPct val="0"/>
        </a:spcAft>
        <a:defRPr sz="891">
          <a:solidFill>
            <a:schemeClr val="tx1"/>
          </a:solidFill>
          <a:latin typeface="+mn-lt"/>
          <a:cs typeface="+mn-cs"/>
        </a:defRPr>
      </a:lvl8pPr>
      <a:lvl9pPr marL="4330004" indent="-254706" algn="l" rtl="0" fontAlgn="base">
        <a:lnSpc>
          <a:spcPct val="90000"/>
        </a:lnSpc>
        <a:spcBef>
          <a:spcPct val="75000"/>
        </a:spcBef>
        <a:spcAft>
          <a:spcPct val="0"/>
        </a:spcAft>
        <a:defRPr sz="89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1pPr>
      <a:lvl2pPr marL="509412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2pPr>
      <a:lvl3pPr marL="1018824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3pPr>
      <a:lvl4pPr marL="1528237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4pPr>
      <a:lvl5pPr marL="2037649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5pPr>
      <a:lvl6pPr marL="2547061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6pPr>
      <a:lvl7pPr marL="3056473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7pPr>
      <a:lvl8pPr marL="3565886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8pPr>
      <a:lvl9pPr marL="4075298" algn="l" defTabSz="1018824" rtl="0" eaLnBrk="1" latinLnBrk="0" hangingPunct="1">
        <a:defRPr sz="200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11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endinblue.com/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hyperlink" Target="http://www.plezi.co/fr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endinblue.com/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4.xml"/><Relationship Id="rId4" Type="http://schemas.openxmlformats.org/officeDocument/2006/relationships/hyperlink" Target="http://www.plezi.co/fr/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11.jpeg"/><Relationship Id="rId4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8.xml.rels><?xml version="1.0" encoding="UTF-8" standalone="yes" ?><Relationships xmlns="http://schemas.openxmlformats.org/package/2006/relationships"><Relationship Id="rId3" Target="../media/image32.png" Type="http://schemas.openxmlformats.org/officeDocument/2006/relationships/image"/><Relationship Id="rId2" Target="../media/image31.jpeg" Type="http://schemas.openxmlformats.org/officeDocument/2006/relationships/image"/><Relationship Id="rId1" Target="../slideLayouts/slideLayout38.xml" Type="http://schemas.openxmlformats.org/officeDocument/2006/relationships/slideLayout"/><Relationship Id="rId6" Target="../media/image35.jpeg" Type="http://schemas.openxmlformats.org/officeDocument/2006/relationships/image"/><Relationship Id="rId5" Target="../media/image34.jpeg" Type="http://schemas.openxmlformats.org/officeDocument/2006/relationships/image"/><Relationship Id="rId4" Target="../media/image33.jpeg" Type="http://schemas.openxmlformats.org/officeDocument/2006/relationships/image"/></Relationships>
</file>

<file path=ppt/slides/_rels/slide19.xml.rels><?xml version="1.0" encoding="UTF-8" standalone="yes" ?><Relationships xmlns="http://schemas.openxmlformats.org/package/2006/relationships"><Relationship Id="rId3" Target="../media/image37.png" Type="http://schemas.openxmlformats.org/officeDocument/2006/relationships/image"/><Relationship Id="rId2" Target="../media/image36.png" Type="http://schemas.openxmlformats.org/officeDocument/2006/relationships/image"/><Relationship Id="rId1" Target="../slideLayouts/slideLayout38.xml" Type="http://schemas.openxmlformats.org/officeDocument/2006/relationships/slideLayout"/><Relationship Id="rId4" Target="../media/image38.jpeg" Type="http://schemas.openxmlformats.org/officeDocument/2006/relationships/image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11.jpeg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11.jpeg"/><Relationship Id="rId4" Type="http://schemas.openxmlformats.org/officeDocument/2006/relationships/image" Target="../media/image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11.jpeg"/><Relationship Id="rId4" Type="http://schemas.openxmlformats.org/officeDocument/2006/relationships/image" Target="../media/image3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11.jpeg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11.jpeg"/><Relationship Id="rId4" Type="http://schemas.openxmlformats.org/officeDocument/2006/relationships/image" Target="../media/image3.png"/></Relationships>
</file>

<file path=ppt/slides/_rels/slide5.xml.rels><?xml version="1.0" encoding="UTF-8" standalone="yes" ?><Relationships xmlns="http://schemas.openxmlformats.org/package/2006/relationships"><Relationship Id="rId8" Target="../media/image18.jpeg" Type="http://schemas.openxmlformats.org/officeDocument/2006/relationships/image"/><Relationship Id="rId3" Target="../media/image13.jpeg" Type="http://schemas.openxmlformats.org/officeDocument/2006/relationships/image"/><Relationship Id="rId7" Target="../media/image17.jpeg" Type="http://schemas.openxmlformats.org/officeDocument/2006/relationships/image"/><Relationship Id="rId2" Target="../media/image12.jpeg" Type="http://schemas.openxmlformats.org/officeDocument/2006/relationships/image"/><Relationship Id="rId1" Target="../slideLayouts/slideLayout38.xml" Type="http://schemas.openxmlformats.org/officeDocument/2006/relationships/slideLayout"/><Relationship Id="rId6" Target="../media/image16.jpeg" Type="http://schemas.openxmlformats.org/officeDocument/2006/relationships/image"/><Relationship Id="rId5" Target="../media/image15.jpeg" Type="http://schemas.openxmlformats.org/officeDocument/2006/relationships/image"/><Relationship Id="rId4" Target="../media/image14.png" Type="http://schemas.openxmlformats.org/officeDocument/2006/relationships/image"/></Relationships>
</file>

<file path=ppt/slides/_rels/slide6.xml.rels><?xml version="1.0" encoding="UTF-8" standalone="yes" ?><Relationships xmlns="http://schemas.openxmlformats.org/package/2006/relationships"><Relationship Id="rId3" Target="../media/image20.jpeg" Type="http://schemas.openxmlformats.org/officeDocument/2006/relationships/image"/><Relationship Id="rId7" Target="../media/image24.jpeg" Type="http://schemas.openxmlformats.org/officeDocument/2006/relationships/image"/><Relationship Id="rId2" Target="../media/image19.jpeg" Type="http://schemas.openxmlformats.org/officeDocument/2006/relationships/image"/><Relationship Id="rId1" Target="../slideLayouts/slideLayout38.xml" Type="http://schemas.openxmlformats.org/officeDocument/2006/relationships/slideLayout"/><Relationship Id="rId6" Target="../media/image23.jpg" Type="http://schemas.openxmlformats.org/officeDocument/2006/relationships/image"/><Relationship Id="rId5" Target="../media/image22.jpeg" Type="http://schemas.openxmlformats.org/officeDocument/2006/relationships/image"/><Relationship Id="rId4" Target="../media/image21.jpeg" Type="http://schemas.openxmlformats.org/officeDocument/2006/relationships/image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://www.gip-mds.fr/" TargetMode="External"/><Relationship Id="rId1" Type="http://schemas.openxmlformats.org/officeDocument/2006/relationships/slideLayout" Target="../slideLayouts/slideLayout3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11.jpeg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Espace réservé du numéro de diapositive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C0917702-3B4E-4EE9-B9E8-F83C071DA5C9}" type="slidenum">
              <a:rPr lang="fr-FR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pPr/>
              <a:t>1</a:t>
            </a:fld>
            <a:endParaRPr lang="fr-FR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8851" name="Image 4" descr="LOGO_DSN_diapo_RVB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0845" y="5873296"/>
            <a:ext cx="1363784" cy="1491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4"/>
          <p:cNvSpPr txBox="1">
            <a:spLocks noChangeArrowheads="1"/>
          </p:cNvSpPr>
          <p:nvPr/>
        </p:nvSpPr>
        <p:spPr bwMode="auto">
          <a:xfrm>
            <a:off x="275940" y="1923456"/>
            <a:ext cx="9636694" cy="3595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2475" tIns="51237" rIns="102475" bIns="51237"/>
          <a:lstStyle/>
          <a:p>
            <a:pPr algn="ctr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fr-FR" sz="3565" b="1" kern="0" dirty="0">
              <a:solidFill>
                <a:srgbClr val="00B0E6"/>
              </a:solidFill>
              <a:latin typeface="Calibri" pitchFamily="34" charset="0"/>
            </a:endParaRPr>
          </a:p>
          <a:p>
            <a:pPr algn="ctr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fr-FR" sz="4011" b="1" i="1" kern="0" dirty="0">
              <a:solidFill>
                <a:srgbClr val="00B0E6"/>
              </a:solidFill>
              <a:latin typeface="Calibri" pitchFamily="34" charset="0"/>
            </a:endParaRPr>
          </a:p>
          <a:p>
            <a:pPr algn="ctr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fr-FR" sz="2674" b="1" i="1" kern="0" dirty="0" smtClean="0">
                <a:solidFill>
                  <a:srgbClr val="004272"/>
                </a:solidFill>
                <a:latin typeface="Calibri" pitchFamily="34" charset="0"/>
              </a:rPr>
              <a:t>Groupe Communication du 17 </a:t>
            </a:r>
            <a:r>
              <a:rPr lang="fr-FR" sz="2674" b="1" i="1" kern="0" dirty="0">
                <a:solidFill>
                  <a:srgbClr val="004272"/>
                </a:solidFill>
                <a:latin typeface="Calibri" pitchFamily="34" charset="0"/>
              </a:rPr>
              <a:t>décembre 2020</a:t>
            </a:r>
          </a:p>
        </p:txBody>
      </p:sp>
      <p:pic>
        <p:nvPicPr>
          <p:cNvPr id="5" name="Picture 3" descr="C:\Users\flelogeais\AppData\Local\Microsoft\Windows\Temporary Internet Files\Content.Outlook\I9SEFXJ7\LOGO gip-mds seul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5843" y="223286"/>
            <a:ext cx="1649556" cy="80233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819370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20954" y="1266327"/>
            <a:ext cx="9226900" cy="5776842"/>
          </a:xfrm>
        </p:spPr>
        <p:txBody>
          <a:bodyPr/>
          <a:lstStyle/>
          <a:p>
            <a:pPr marL="95515" indent="0" algn="just">
              <a:spcBef>
                <a:spcPts val="0"/>
              </a:spcBef>
              <a:buNone/>
            </a:pPr>
            <a:r>
              <a:rPr lang="fr-FR" sz="2228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 181 989 mails </a:t>
            </a:r>
            <a:r>
              <a:rPr lang="fr-FR" sz="1560" b="0" dirty="0">
                <a:latin typeface="Calibri" panose="020F0502020204030204" pitchFamily="34" charset="0"/>
                <a:cs typeface="Calibri" panose="020F0502020204030204" pitchFamily="34" charset="0"/>
              </a:rPr>
              <a:t>ont été adressés en 2020 aux inscrits net-entreprises pour le collectif des O.P.S. </a:t>
            </a:r>
          </a:p>
          <a:p>
            <a:pPr marL="95515" indent="0" algn="just">
              <a:spcBef>
                <a:spcPts val="0"/>
              </a:spcBef>
              <a:buNone/>
            </a:pPr>
            <a:endParaRPr lang="fr-FR" sz="156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5515" indent="0" algn="just">
              <a:spcBef>
                <a:spcPts val="0"/>
              </a:spcBef>
              <a:buNone/>
            </a:pPr>
            <a:r>
              <a:rPr lang="fr-FR" sz="1783" b="0" dirty="0">
                <a:latin typeface="Calibri" panose="020F0502020204030204" pitchFamily="34" charset="0"/>
                <a:cs typeface="Calibri" panose="020F0502020204030204" pitchFamily="34" charset="0"/>
              </a:rPr>
              <a:t>Sur ces </a:t>
            </a:r>
            <a:r>
              <a:rPr lang="fr-FR" sz="1783" dirty="0">
                <a:latin typeface="Calibri" panose="020F0502020204030204" pitchFamily="34" charset="0"/>
                <a:cs typeface="Calibri" panose="020F0502020204030204" pitchFamily="34" charset="0"/>
              </a:rPr>
              <a:t>76 campagnes</a:t>
            </a:r>
            <a:r>
              <a:rPr lang="fr-FR" sz="1783" b="0" dirty="0">
                <a:latin typeface="Calibri" panose="020F0502020204030204" pitchFamily="34" charset="0"/>
                <a:cs typeface="Calibri" panose="020F0502020204030204" pitchFamily="34" charset="0"/>
              </a:rPr>
              <a:t>, la majorité des envois concernait la crise sanitaire :</a:t>
            </a:r>
          </a:p>
          <a:p>
            <a:pPr marL="201642" indent="307770"/>
            <a:r>
              <a:rPr lang="fr-FR" sz="1783" dirty="0">
                <a:solidFill>
                  <a:srgbClr val="FF99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3 envois Crise Covid DSN</a:t>
            </a:r>
            <a:r>
              <a:rPr lang="fr-FR" sz="1783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783" dirty="0">
                <a:solidFill>
                  <a:srgbClr val="FF99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lti OPS </a:t>
            </a:r>
            <a:r>
              <a:rPr lang="fr-FR" sz="1783" b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dont 1 à la demande du Ministère de la Santé)</a:t>
            </a:r>
          </a:p>
          <a:p>
            <a:pPr marL="965761" lvl="1">
              <a:buFont typeface="Wingdings" panose="05000000000000000000" pitchFamily="2" charset="2"/>
              <a:buChar char="Ø"/>
            </a:pPr>
            <a:r>
              <a:rPr lang="fr-FR" sz="1783" b="1" dirty="0">
                <a:solidFill>
                  <a:srgbClr val="FF99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 192 533 mails </a:t>
            </a:r>
            <a:r>
              <a:rPr lang="fr-FR" sz="1783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ressés entre mars 2020 à décembre 2020 sur les exonérations de charges, les aides Covid, la protection des salariés, les arrêts spécifiques Covid Garde d’enfants…</a:t>
            </a:r>
          </a:p>
          <a:p>
            <a:pPr marL="201642" indent="307770"/>
            <a:r>
              <a:rPr lang="fr-FR" sz="1783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2 envois  CNAM DRP </a:t>
            </a:r>
          </a:p>
          <a:p>
            <a:pPr marL="794188" indent="-95515">
              <a:buFont typeface="Wingdings" panose="05000000000000000000" pitchFamily="2" charset="2"/>
              <a:buChar char="Ø"/>
            </a:pPr>
            <a:r>
              <a:rPr lang="fr-FR" sz="1783" b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783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50 016 mails </a:t>
            </a:r>
            <a:r>
              <a:rPr lang="fr-FR" sz="1783" b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ressés sur le compte AT/MP, des Infos métiers, les aides et subventions des </a:t>
            </a:r>
            <a:r>
              <a:rPr lang="fr-FR" sz="1783" b="0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rsat</a:t>
            </a:r>
            <a:r>
              <a:rPr lang="fr-FR" sz="1783" b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égionales</a:t>
            </a:r>
          </a:p>
          <a:p>
            <a:pPr marL="201642" indent="307770"/>
            <a:r>
              <a:rPr lang="fr-FR" sz="1783" b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 envois C3S, 6 envois DSI / Urssaf</a:t>
            </a:r>
          </a:p>
          <a:p>
            <a:pPr marL="201642" indent="307770"/>
            <a:r>
              <a:rPr lang="fr-FR" sz="1783" b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envoi Ouverture du compte employeur pour l’abondement à Mon Compte Formation / CDC</a:t>
            </a:r>
          </a:p>
          <a:p>
            <a:pPr marL="201642" indent="307770"/>
            <a:r>
              <a:rPr lang="fr-FR" sz="1783" b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 envois Congrès des Experts Comptables, 7 envois Club des pilotes / Évènementiel</a:t>
            </a:r>
          </a:p>
          <a:p>
            <a:pPr marL="95515" indent="0" algn="ctr">
              <a:spcBef>
                <a:spcPts val="0"/>
              </a:spcBef>
              <a:buNone/>
            </a:pPr>
            <a:endParaRPr lang="fr-FR" sz="156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5515" indent="0" algn="just">
              <a:spcBef>
                <a:spcPts val="0"/>
              </a:spcBef>
              <a:buNone/>
            </a:pPr>
            <a:r>
              <a:rPr lang="fr-FR" sz="1560" b="0" dirty="0">
                <a:latin typeface="Calibri" panose="020F0502020204030204" pitchFamily="34" charset="0"/>
                <a:cs typeface="Calibri" panose="020F0502020204030204" pitchFamily="34" charset="0"/>
              </a:rPr>
              <a:t>					</a:t>
            </a:r>
          </a:p>
          <a:p>
            <a:pPr marL="95515" indent="0" algn="just">
              <a:spcBef>
                <a:spcPts val="0"/>
              </a:spcBef>
              <a:buNone/>
            </a:pPr>
            <a:endParaRPr lang="fr-FR" sz="156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5515" indent="0" algn="just">
              <a:spcBef>
                <a:spcPts val="0"/>
              </a:spcBef>
              <a:buNone/>
            </a:pPr>
            <a:endParaRPr lang="fr-FR" sz="156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5515" indent="0" algn="just">
              <a:spcBef>
                <a:spcPts val="0"/>
              </a:spcBef>
              <a:buNone/>
            </a:pPr>
            <a:endParaRPr lang="fr-FR" sz="156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5515" indent="0" algn="just">
              <a:spcBef>
                <a:spcPts val="0"/>
              </a:spcBef>
              <a:buNone/>
            </a:pPr>
            <a:endParaRPr lang="fr-FR" sz="156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5515" indent="0" algn="just">
              <a:spcBef>
                <a:spcPts val="0"/>
              </a:spcBef>
              <a:buNone/>
            </a:pPr>
            <a:endParaRPr lang="fr-FR" sz="156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5515" indent="0" algn="just">
              <a:spcBef>
                <a:spcPts val="0"/>
              </a:spcBef>
              <a:buNone/>
            </a:pPr>
            <a:endParaRPr lang="fr-FR" sz="156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5515" indent="0" algn="just">
              <a:spcBef>
                <a:spcPts val="0"/>
              </a:spcBef>
              <a:buNone/>
            </a:pPr>
            <a:endParaRPr lang="fr-FR" sz="156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5515" indent="0" algn="just">
              <a:spcBef>
                <a:spcPts val="0"/>
              </a:spcBef>
              <a:buNone/>
            </a:pPr>
            <a:endParaRPr lang="fr-FR" sz="156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5515" indent="0" algn="just">
              <a:spcBef>
                <a:spcPts val="0"/>
              </a:spcBef>
              <a:buNone/>
            </a:pPr>
            <a:endParaRPr lang="fr-FR" sz="156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01642" indent="307770"/>
            <a:endParaRPr lang="fr-FR" sz="1560" b="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fr-FR" sz="1560" i="1" dirty="0"/>
          </a:p>
          <a:p>
            <a:endParaRPr lang="fr-FR" sz="1560" i="1" dirty="0"/>
          </a:p>
          <a:p>
            <a:endParaRPr lang="fr-FR" dirty="0" smtClean="0"/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/>
          </a:p>
        </p:txBody>
      </p:sp>
      <p:sp>
        <p:nvSpPr>
          <p:cNvPr id="5" name="Rectangle à coins arrondis 4"/>
          <p:cNvSpPr/>
          <p:nvPr/>
        </p:nvSpPr>
        <p:spPr bwMode="auto">
          <a:xfrm>
            <a:off x="440720" y="303520"/>
            <a:ext cx="9467602" cy="754616"/>
          </a:xfrm>
          <a:prstGeom prst="roundRect">
            <a:avLst/>
          </a:prstGeom>
          <a:solidFill>
            <a:schemeClr val="accent1"/>
          </a:solidFill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1886" tIns="50943" rIns="101886" bIns="50943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fr-FR" sz="891" b="1" baseline="30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fr-FR" sz="891" b="1" baseline="30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fr-FR" sz="4011" b="1" baseline="30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ynthèse des envois de Push-Mails 2020</a:t>
            </a:r>
          </a:p>
        </p:txBody>
      </p:sp>
    </p:spTree>
    <p:extLst>
      <p:ext uri="{BB962C8B-B14F-4D97-AF65-F5344CB8AC3E}">
        <p14:creationId xmlns:p14="http://schemas.microsoft.com/office/powerpoint/2010/main" val="148201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à coins arrondis 17"/>
          <p:cNvSpPr/>
          <p:nvPr/>
        </p:nvSpPr>
        <p:spPr bwMode="auto">
          <a:xfrm>
            <a:off x="480837" y="945391"/>
            <a:ext cx="9283797" cy="76085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1886" tIns="50943" rIns="101886" bIns="50943" numCol="1" rtlCol="0" anchor="t" anchorCtr="0" compatLnSpc="1">
            <a:prstTxWarp prst="textNoShape">
              <a:avLst/>
            </a:prstTxWarp>
          </a:bodyPr>
          <a:lstStyle/>
          <a:p>
            <a:pPr defTabSz="1018824" fontAlgn="base">
              <a:spcBef>
                <a:spcPct val="0"/>
              </a:spcBef>
              <a:spcAft>
                <a:spcPct val="0"/>
              </a:spcAft>
            </a:pPr>
            <a:endParaRPr lang="fr-FR" sz="1003">
              <a:latin typeface="Arial" charset="0"/>
            </a:endParaRPr>
          </a:p>
        </p:txBody>
      </p:sp>
      <p:sp>
        <p:nvSpPr>
          <p:cNvPr id="11" name="Rectangle à coins arrondis 10"/>
          <p:cNvSpPr/>
          <p:nvPr/>
        </p:nvSpPr>
        <p:spPr bwMode="auto">
          <a:xfrm>
            <a:off x="6297796" y="4154747"/>
            <a:ext cx="3470406" cy="284727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1886" tIns="50943" rIns="101886" bIns="50943" numCol="1" rtlCol="0" anchor="t" anchorCtr="0" compatLnSpc="1">
            <a:prstTxWarp prst="textNoShape">
              <a:avLst/>
            </a:prstTxWarp>
          </a:bodyPr>
          <a:lstStyle/>
          <a:p>
            <a:pPr defTabSz="1018824" fontAlgn="base">
              <a:spcBef>
                <a:spcPct val="0"/>
              </a:spcBef>
              <a:spcAft>
                <a:spcPct val="0"/>
              </a:spcAft>
            </a:pPr>
            <a:endParaRPr lang="fr-FR" sz="1003">
              <a:latin typeface="Arial" charset="0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80837" y="873520"/>
            <a:ext cx="9226900" cy="6570819"/>
          </a:xfrm>
        </p:spPr>
        <p:txBody>
          <a:bodyPr/>
          <a:lstStyle/>
          <a:p>
            <a:pPr marL="95515" indent="0" algn="just">
              <a:spcBef>
                <a:spcPts val="0"/>
              </a:spcBef>
              <a:buNone/>
            </a:pPr>
            <a:endParaRPr lang="fr-FR" sz="891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5515" indent="0" algn="just">
              <a:spcBef>
                <a:spcPts val="0"/>
              </a:spcBef>
              <a:buNone/>
            </a:pPr>
            <a:r>
              <a:rPr lang="fr-FR" sz="1560" b="0" dirty="0">
                <a:latin typeface="Calibri" panose="020F0502020204030204" pitchFamily="34" charset="0"/>
                <a:cs typeface="Calibri" panose="020F0502020204030204" pitchFamily="34" charset="0"/>
              </a:rPr>
              <a:t>La collaboration entre les services du GIP-MDS et les OPS a permis de garantir une cohérence des informations diffusées, une bonne qualité des listes de diffusion, un bon taux d’aboutis, d’ouverture et la mise à disposition d’une information mise à jour en temps réel. </a:t>
            </a:r>
            <a:endParaRPr lang="fr-FR" sz="1560" dirty="0"/>
          </a:p>
          <a:p>
            <a:pPr marL="95515" indent="0" algn="just">
              <a:spcBef>
                <a:spcPts val="0"/>
              </a:spcBef>
              <a:buNone/>
            </a:pPr>
            <a:endParaRPr lang="fr-FR" sz="1560" dirty="0"/>
          </a:p>
          <a:p>
            <a:pPr marL="95515" indent="0">
              <a:spcBef>
                <a:spcPts val="0"/>
              </a:spcBef>
              <a:buNone/>
            </a:pPr>
            <a:r>
              <a:rPr lang="fr-FR" sz="1560" dirty="0">
                <a:latin typeface="Calibri" panose="020F0502020204030204" pitchFamily="34" charset="0"/>
                <a:cs typeface="Calibri" panose="020F0502020204030204" pitchFamily="34" charset="0"/>
              </a:rPr>
              <a:t>   Envois en  2019  	                      Envois en  2020</a:t>
            </a:r>
          </a:p>
          <a:p>
            <a:pPr marL="95515" indent="0">
              <a:spcBef>
                <a:spcPts val="0"/>
              </a:spcBef>
              <a:buNone/>
            </a:pPr>
            <a:r>
              <a:rPr lang="fr-FR" sz="1560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560" dirty="0">
                <a:latin typeface="Calibri" panose="020F0502020204030204" pitchFamily="34" charset="0"/>
                <a:cs typeface="Calibri" panose="020F0502020204030204" pitchFamily="34" charset="0"/>
              </a:rPr>
              <a:t> 45 </a:t>
            </a:r>
            <a:r>
              <a:rPr lang="fr-FR" sz="1560" b="0" dirty="0">
                <a:latin typeface="Calibri" panose="020F0502020204030204" pitchFamily="34" charset="0"/>
                <a:cs typeface="Calibri" panose="020F0502020204030204" pitchFamily="34" charset="0"/>
              </a:rPr>
              <a:t>campagnes  : </a:t>
            </a:r>
            <a:r>
              <a:rPr lang="fr-FR" sz="1560" dirty="0">
                <a:latin typeface="Calibri" panose="020F0502020204030204" pitchFamily="34" charset="0"/>
                <a:cs typeface="Calibri" panose="020F0502020204030204" pitchFamily="34" charset="0"/>
              </a:rPr>
              <a:t>703 500 mails        76</a:t>
            </a:r>
            <a:r>
              <a:rPr lang="fr-FR" sz="1560" b="0" dirty="0">
                <a:latin typeface="Calibri" panose="020F0502020204030204" pitchFamily="34" charset="0"/>
                <a:cs typeface="Calibri" panose="020F0502020204030204" pitchFamily="34" charset="0"/>
              </a:rPr>
              <a:t> campagnes : </a:t>
            </a:r>
            <a:r>
              <a:rPr lang="fr-FR" sz="156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 181 989 </a:t>
            </a:r>
            <a:r>
              <a:rPr lang="fr-FR" sz="1560" dirty="0">
                <a:latin typeface="Calibri" panose="020F0502020204030204" pitchFamily="34" charset="0"/>
                <a:cs typeface="Calibri" panose="020F0502020204030204" pitchFamily="34" charset="0"/>
              </a:rPr>
              <a:t>mails </a:t>
            </a:r>
            <a:endParaRPr lang="fr-FR" sz="156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5515" indent="0" algn="just">
              <a:spcBef>
                <a:spcPts val="0"/>
              </a:spcBef>
              <a:buNone/>
            </a:pPr>
            <a:endParaRPr lang="fr-FR" sz="1560" dirty="0"/>
          </a:p>
          <a:p>
            <a:pPr marL="95515" indent="0" algn="just">
              <a:spcBef>
                <a:spcPts val="0"/>
              </a:spcBef>
              <a:buNone/>
            </a:pPr>
            <a:endParaRPr lang="fr-FR" sz="1560" dirty="0"/>
          </a:p>
          <a:p>
            <a:pPr marL="95515" indent="0" algn="just">
              <a:spcBef>
                <a:spcPts val="0"/>
              </a:spcBef>
              <a:buNone/>
            </a:pPr>
            <a:endParaRPr lang="fr-FR" sz="1560" dirty="0"/>
          </a:p>
          <a:p>
            <a:pPr marL="95515" indent="0" algn="just">
              <a:spcBef>
                <a:spcPts val="0"/>
              </a:spcBef>
              <a:buNone/>
            </a:pPr>
            <a:endParaRPr lang="fr-FR" sz="1560" dirty="0"/>
          </a:p>
          <a:p>
            <a:pPr marL="95515" indent="0" algn="just">
              <a:spcBef>
                <a:spcPts val="0"/>
              </a:spcBef>
              <a:buNone/>
            </a:pPr>
            <a:endParaRPr lang="fr-FR" sz="1560" dirty="0"/>
          </a:p>
          <a:p>
            <a:pPr marL="95515" indent="0" algn="just">
              <a:spcBef>
                <a:spcPts val="0"/>
              </a:spcBef>
              <a:buNone/>
            </a:pPr>
            <a:r>
              <a:rPr lang="fr-FR" sz="1560" dirty="0"/>
              <a:t>.</a:t>
            </a:r>
          </a:p>
          <a:p>
            <a:pPr marL="6289826" indent="0" algn="just">
              <a:spcBef>
                <a:spcPts val="0"/>
              </a:spcBef>
              <a:buNone/>
            </a:pPr>
            <a:endParaRPr lang="fr-FR" sz="1560" dirty="0"/>
          </a:p>
          <a:p>
            <a:pPr marL="5699049" indent="-318383" algn="just">
              <a:spcBef>
                <a:spcPts val="0"/>
              </a:spcBef>
              <a:buNone/>
            </a:pPr>
            <a:endParaRPr lang="fr-FR" sz="156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699049" indent="-318383" algn="just">
              <a:spcBef>
                <a:spcPts val="0"/>
              </a:spcBef>
              <a:buNone/>
            </a:pPr>
            <a:endParaRPr lang="fr-FR" sz="156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92796" indent="0" algn="just">
              <a:spcBef>
                <a:spcPts val="0"/>
              </a:spcBef>
              <a:buNone/>
            </a:pPr>
            <a:endParaRPr lang="fr-FR" sz="1560" dirty="0"/>
          </a:p>
          <a:p>
            <a:pPr marL="5792796" indent="0" algn="just">
              <a:spcBef>
                <a:spcPts val="0"/>
              </a:spcBef>
              <a:buNone/>
            </a:pPr>
            <a:r>
              <a:rPr lang="fr-FR" sz="1560" dirty="0"/>
              <a:t>Le taux d’ouverture des mails est de plus de </a:t>
            </a:r>
            <a:r>
              <a:rPr lang="fr-FR" sz="156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36,38 %</a:t>
            </a:r>
          </a:p>
          <a:p>
            <a:pPr marL="5792796" indent="0" algn="just">
              <a:spcBef>
                <a:spcPts val="0"/>
              </a:spcBef>
              <a:buNone/>
            </a:pPr>
            <a:endParaRPr lang="fr-FR" sz="1560" dirty="0">
              <a:solidFill>
                <a:schemeClr val="tx1">
                  <a:lumMod val="60000"/>
                  <a:lumOff val="4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6289826" lvl="2" indent="-318383" algn="just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r-FR" sz="156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  taux moyen d’ouverture de mails en France* est de 25 %</a:t>
            </a:r>
          </a:p>
          <a:p>
            <a:pPr marL="5971443" lvl="2" indent="0" algn="just">
              <a:spcBef>
                <a:spcPts val="0"/>
              </a:spcBef>
              <a:buNone/>
            </a:pPr>
            <a:endParaRPr lang="fr-FR" sz="1560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6289826" lvl="1" algn="just">
              <a:spcBef>
                <a:spcPts val="0"/>
              </a:spcBef>
              <a:buNone/>
            </a:pPr>
            <a:endParaRPr lang="fr-FR" sz="1114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92796" indent="0" algn="just">
              <a:spcBef>
                <a:spcPts val="0"/>
              </a:spcBef>
              <a:buNone/>
            </a:pPr>
            <a:r>
              <a:rPr lang="fr-FR" sz="1560" dirty="0"/>
              <a:t>Le taux de réactivité est de </a:t>
            </a:r>
            <a:r>
              <a:rPr lang="fr-FR" sz="156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6,61 %</a:t>
            </a:r>
          </a:p>
          <a:p>
            <a:pPr marL="5792796" indent="0" algn="just">
              <a:spcBef>
                <a:spcPts val="0"/>
              </a:spcBef>
              <a:buNone/>
            </a:pPr>
            <a:endParaRPr lang="fr-FR" sz="1560" dirty="0"/>
          </a:p>
          <a:p>
            <a:pPr marL="6289826" lvl="1" algn="just">
              <a:spcBef>
                <a:spcPts val="0"/>
              </a:spcBef>
              <a:buFont typeface="Arial" panose="020B0604020202020204" pitchFamily="34" charset="0"/>
              <a:buChar char="•"/>
              <a:tabLst>
                <a:tab pos="6599365" algn="l"/>
              </a:tabLst>
            </a:pPr>
            <a:r>
              <a:rPr lang="fr-FR" sz="156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 taux moyen de réactivité an France* se situe entre 1,2 et 3 %	</a:t>
            </a:r>
          </a:p>
          <a:p>
            <a:pPr marL="6289826" indent="-5886541" algn="just">
              <a:spcBef>
                <a:spcPts val="0"/>
              </a:spcBef>
              <a:buNone/>
              <a:tabLst>
                <a:tab pos="5295765" algn="l"/>
                <a:tab pos="6397723" algn="l"/>
              </a:tabLst>
            </a:pPr>
            <a:endParaRPr lang="fr-FR" sz="156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6289826" indent="-5886541" algn="just">
              <a:spcBef>
                <a:spcPts val="0"/>
              </a:spcBef>
              <a:buNone/>
              <a:tabLst>
                <a:tab pos="5295765" algn="l"/>
                <a:tab pos="6397723" algn="l"/>
              </a:tabLst>
            </a:pPr>
            <a:endParaRPr lang="fr-FR" sz="669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6289826" indent="-5886541" algn="just">
              <a:spcBef>
                <a:spcPts val="0"/>
              </a:spcBef>
              <a:buNone/>
              <a:tabLst>
                <a:tab pos="5295765" algn="l"/>
                <a:tab pos="6397723" algn="l"/>
              </a:tabLst>
            </a:pPr>
            <a:r>
              <a:rPr lang="fr-FR" sz="1560" b="0" dirty="0">
                <a:latin typeface="Calibri" panose="020F0502020204030204" pitchFamily="34" charset="0"/>
                <a:cs typeface="Calibri" panose="020F0502020204030204" pitchFamily="34" charset="0"/>
              </a:rPr>
              <a:t>*Sources:  </a:t>
            </a:r>
            <a:r>
              <a:rPr lang="fr-FR" sz="1560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www.sendinblue.com</a:t>
            </a:r>
            <a:r>
              <a:rPr lang="fr-FR" sz="1560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// </a:t>
            </a:r>
            <a:r>
              <a:rPr lang="fr-FR" sz="1560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www.plezi.co/fr/</a:t>
            </a:r>
            <a:endParaRPr lang="fr-FR" sz="1560" b="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6100566" indent="0" algn="just">
              <a:spcBef>
                <a:spcPts val="0"/>
              </a:spcBef>
              <a:buNone/>
              <a:tabLst>
                <a:tab pos="6397723" algn="l"/>
              </a:tabLst>
            </a:pPr>
            <a:endParaRPr lang="fr-FR" sz="1560" b="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5515" indent="0" algn="just">
              <a:spcBef>
                <a:spcPts val="0"/>
              </a:spcBef>
              <a:buNone/>
            </a:pPr>
            <a:endParaRPr lang="fr-FR" sz="156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5515" indent="0" algn="just">
              <a:spcBef>
                <a:spcPts val="0"/>
              </a:spcBef>
              <a:buNone/>
            </a:pPr>
            <a:endParaRPr lang="fr-FR" sz="156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5515" indent="0" algn="just">
              <a:spcBef>
                <a:spcPts val="0"/>
              </a:spcBef>
              <a:buNone/>
            </a:pPr>
            <a:endParaRPr lang="fr-FR" sz="156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01642" indent="307770"/>
            <a:endParaRPr lang="fr-FR" sz="1560" b="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fr-FR" sz="1560" i="1" dirty="0"/>
          </a:p>
          <a:p>
            <a:pPr marL="0" indent="0">
              <a:buNone/>
            </a:pPr>
            <a:endParaRPr lang="fr-FR" sz="1560" i="1" dirty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/>
          </a:p>
        </p:txBody>
      </p:sp>
      <p:sp>
        <p:nvSpPr>
          <p:cNvPr id="5" name="Rectangle à coins arrondis 4"/>
          <p:cNvSpPr/>
          <p:nvPr/>
        </p:nvSpPr>
        <p:spPr bwMode="auto">
          <a:xfrm>
            <a:off x="480837" y="163977"/>
            <a:ext cx="9283797" cy="620947"/>
          </a:xfrm>
          <a:prstGeom prst="roundRect">
            <a:avLst/>
          </a:prstGeom>
          <a:solidFill>
            <a:schemeClr val="accent1"/>
          </a:solidFill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1886" tIns="50943" rIns="101886" bIns="50943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4011" b="1" baseline="30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ynthèse des</a:t>
            </a:r>
            <a:r>
              <a:rPr lang="fr-FR" sz="4011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4011" b="1" baseline="30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6</a:t>
            </a:r>
            <a:r>
              <a:rPr lang="fr-FR" sz="4011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4011" b="1" baseline="30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vois annuels</a:t>
            </a:r>
            <a:endParaRPr lang="fr-FR" sz="4011" baseline="30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8" name="Tableau 7"/>
          <p:cNvGraphicFramePr>
            <a:graphicFrameLocks noGrp="1"/>
          </p:cNvGraphicFramePr>
          <p:nvPr>
            <p:extLst/>
          </p:nvPr>
        </p:nvGraphicFramePr>
        <p:xfrm>
          <a:off x="601188" y="4154748"/>
          <a:ext cx="5475675" cy="2852527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2779958">
                  <a:extLst>
                    <a:ext uri="{9D8B030D-6E8A-4147-A177-3AD203B41FA5}">
                      <a16:colId xmlns:a16="http://schemas.microsoft.com/office/drawing/2014/main" val="229756847"/>
                    </a:ext>
                  </a:extLst>
                </a:gridCol>
                <a:gridCol w="2695717">
                  <a:extLst>
                    <a:ext uri="{9D8B030D-6E8A-4147-A177-3AD203B41FA5}">
                      <a16:colId xmlns:a16="http://schemas.microsoft.com/office/drawing/2014/main" val="4168802032"/>
                    </a:ext>
                  </a:extLst>
                </a:gridCol>
              </a:tblGrid>
              <a:tr h="47009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mbre de</a:t>
                      </a:r>
                      <a:r>
                        <a:rPr lang="fr-FR" sz="18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campagnes</a:t>
                      </a:r>
                      <a:endParaRPr lang="fr-FR" sz="1800" b="1" dirty="0" smtClean="0">
                        <a:solidFill>
                          <a:srgbClr val="00206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1886" marR="101886" marT="50943" marB="509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80</a:t>
                      </a:r>
                      <a:endParaRPr lang="fr-FR" sz="1800" b="1" kern="1200" dirty="0">
                        <a:solidFill>
                          <a:srgbClr val="002060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01886" marR="101886" marT="50943" marB="50943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08480253"/>
                  </a:ext>
                </a:extLst>
              </a:tr>
              <a:tr h="64527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ss mails effectués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tre le :</a:t>
                      </a:r>
                      <a:endParaRPr lang="fr-FR" sz="1800" b="1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1886" marR="101886" marT="50943" marB="509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janvier et le 10 décembre 2020</a:t>
                      </a:r>
                      <a:endParaRPr lang="fr-FR" sz="1800" b="1" dirty="0" smtClean="0">
                        <a:solidFill>
                          <a:srgbClr val="00206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1886" marR="101886" marT="50943" marB="50943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96498041"/>
                  </a:ext>
                </a:extLst>
              </a:tr>
              <a:tr h="47009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mbre</a:t>
                      </a:r>
                      <a:r>
                        <a:rPr lang="fr-FR" sz="18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e mails transmis</a:t>
                      </a:r>
                      <a:endParaRPr lang="fr-FR" sz="1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1886" marR="101886" marT="50943" marB="509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b="1" dirty="0" smtClean="0">
                          <a:solidFill>
                            <a:schemeClr val="accent4">
                              <a:lumMod val="50000"/>
                              <a:lumOff val="5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 181 989 </a:t>
                      </a:r>
                      <a:endParaRPr lang="fr-FR" sz="1800" b="1" dirty="0">
                        <a:solidFill>
                          <a:schemeClr val="accent4">
                            <a:lumMod val="50000"/>
                            <a:lumOff val="50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1886" marR="101886" marT="50943" marB="50943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57372123"/>
                  </a:ext>
                </a:extLst>
              </a:tr>
              <a:tr h="4206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mbre de mails aboutis</a:t>
                      </a:r>
                      <a:endParaRPr lang="fr-FR" sz="16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1886" marR="101886" marT="50943" marB="509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r>
                        <a:rPr lang="fr-FR" sz="1600" b="1" baseline="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109 997</a:t>
                      </a:r>
                      <a:endParaRPr lang="fr-FR" sz="1600" b="1" dirty="0">
                        <a:solidFill>
                          <a:schemeClr val="tx1">
                            <a:lumMod val="7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1886" marR="101886" marT="50943" marB="50943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68995725"/>
                  </a:ext>
                </a:extLst>
              </a:tr>
              <a:tr h="420607">
                <a:tc>
                  <a:txBody>
                    <a:bodyPr/>
                    <a:lstStyle/>
                    <a:p>
                      <a:r>
                        <a:rPr lang="fr-FR" sz="16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aux</a:t>
                      </a:r>
                      <a:r>
                        <a:rPr lang="fr-FR" sz="1600" b="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moyen mails aboutis </a:t>
                      </a:r>
                      <a:endParaRPr lang="fr-FR" sz="16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1886" marR="101886" marT="50943" marB="509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0" kern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8,</a:t>
                      </a:r>
                      <a:r>
                        <a:rPr lang="fr-FR" sz="1600" b="0" kern="120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67 %</a:t>
                      </a:r>
                      <a:endParaRPr lang="fr-FR" sz="1600" b="0" kern="1200" dirty="0">
                        <a:solidFill>
                          <a:srgbClr val="002060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01886" marR="101886" marT="50943" marB="50943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14879522"/>
                  </a:ext>
                </a:extLst>
              </a:tr>
              <a:tr h="420607">
                <a:tc>
                  <a:txBody>
                    <a:bodyPr/>
                    <a:lstStyle/>
                    <a:p>
                      <a:r>
                        <a:rPr lang="fr-FR" sz="16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aux</a:t>
                      </a:r>
                      <a:r>
                        <a:rPr lang="fr-FR" sz="1600" b="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moyen d’ouverture </a:t>
                      </a:r>
                      <a:endParaRPr lang="fr-FR" sz="16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1886" marR="101886" marT="50943" marB="509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6, 38 %</a:t>
                      </a:r>
                      <a:endParaRPr lang="fr-FR" sz="1600" b="0" dirty="0">
                        <a:solidFill>
                          <a:srgbClr val="00206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1886" marR="101886" marT="50943" marB="50943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77816909"/>
                  </a:ext>
                </a:extLst>
              </a:tr>
            </a:tbl>
          </a:graphicData>
        </a:graphic>
      </p:graphicFrame>
      <p:sp>
        <p:nvSpPr>
          <p:cNvPr id="9" name="Rectangle à coins arrondis 8"/>
          <p:cNvSpPr/>
          <p:nvPr/>
        </p:nvSpPr>
        <p:spPr bwMode="auto">
          <a:xfrm>
            <a:off x="7180369" y="1827964"/>
            <a:ext cx="2487251" cy="2086082"/>
          </a:xfrm>
          <a:prstGeom prst="roundRect">
            <a:avLst/>
          </a:prstGeom>
          <a:solidFill>
            <a:srgbClr val="00B0E6"/>
          </a:solidFill>
          <a:ln w="19050" cap="flat" cmpd="sng" algn="ctr">
            <a:solidFill>
              <a:srgbClr val="FF993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1886" tIns="50943" rIns="101886" bIns="50943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783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dice Global de Qualité </a:t>
            </a:r>
          </a:p>
          <a:p>
            <a:pPr algn="ctr"/>
            <a:r>
              <a:rPr lang="fr-FR" sz="1783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mpagnes DSN</a:t>
            </a:r>
          </a:p>
          <a:p>
            <a:pPr algn="ctr"/>
            <a:endParaRPr lang="fr-FR" sz="891" b="1" dirty="0">
              <a:solidFill>
                <a:srgbClr val="FFC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fr-FR" sz="2674" b="1" dirty="0">
                <a:solidFill>
                  <a:srgbClr val="FFC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1</a:t>
            </a:r>
          </a:p>
          <a:p>
            <a:pPr algn="ctr"/>
            <a:endParaRPr lang="fr-FR" sz="891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fr-FR" sz="2674" b="1" dirty="0">
                <a:latin typeface="Calibri" panose="020F0502020204030204" pitchFamily="34" charset="0"/>
                <a:cs typeface="Calibri" panose="020F0502020204030204" pitchFamily="34" charset="0"/>
              </a:rPr>
              <a:t>100</a:t>
            </a:r>
          </a:p>
          <a:p>
            <a:endParaRPr lang="fr-FR" sz="156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2" name="Connecteur droit 11"/>
          <p:cNvCxnSpPr/>
          <p:nvPr/>
        </p:nvCxnSpPr>
        <p:spPr bwMode="auto">
          <a:xfrm>
            <a:off x="7982708" y="3111707"/>
            <a:ext cx="952135" cy="0"/>
          </a:xfrm>
          <a:prstGeom prst="line">
            <a:avLst/>
          </a:prstGeom>
          <a:solidFill>
            <a:schemeClr val="accent1"/>
          </a:solidFill>
          <a:ln w="34925" cap="flat" cmpd="sng" algn="ctr">
            <a:solidFill>
              <a:schemeClr val="accent5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ectangle 12"/>
          <p:cNvSpPr/>
          <p:nvPr/>
        </p:nvSpPr>
        <p:spPr bwMode="auto">
          <a:xfrm>
            <a:off x="520954" y="1827964"/>
            <a:ext cx="5776842" cy="2018049"/>
          </a:xfrm>
          <a:prstGeom prst="rect">
            <a:avLst/>
          </a:prstGeom>
          <a:noFill/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1886" tIns="50943" rIns="101886" bIns="50943" numCol="1" rtlCol="0" anchor="t" anchorCtr="0" compatLnSpc="1">
            <a:prstTxWarp prst="textNoShape">
              <a:avLst/>
            </a:prstTxWarp>
          </a:bodyPr>
          <a:lstStyle/>
          <a:p>
            <a:pPr defTabSz="1018824" fontAlgn="base">
              <a:spcBef>
                <a:spcPct val="0"/>
              </a:spcBef>
              <a:spcAft>
                <a:spcPct val="0"/>
              </a:spcAft>
            </a:pPr>
            <a:endParaRPr lang="fr-FR" sz="1003">
              <a:ln>
                <a:solidFill>
                  <a:srgbClr val="FFC000"/>
                </a:solidFill>
              </a:ln>
              <a:noFill/>
              <a:latin typeface="Arial" charset="0"/>
            </a:endParaRPr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1422" y="2639201"/>
            <a:ext cx="2407017" cy="1121798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69843" y="2602639"/>
            <a:ext cx="2507020" cy="1163140"/>
          </a:xfrm>
          <a:prstGeom prst="rect">
            <a:avLst/>
          </a:prstGeom>
        </p:spPr>
      </p:pic>
      <p:sp>
        <p:nvSpPr>
          <p:cNvPr id="17" name="Rectangle 16"/>
          <p:cNvSpPr/>
          <p:nvPr/>
        </p:nvSpPr>
        <p:spPr bwMode="auto">
          <a:xfrm>
            <a:off x="601188" y="4154747"/>
            <a:ext cx="5475675" cy="2847277"/>
          </a:xfrm>
          <a:prstGeom prst="rect">
            <a:avLst/>
          </a:prstGeom>
          <a:noFill/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1886" tIns="50943" rIns="101886" bIns="50943" numCol="1" rtlCol="0" anchor="t" anchorCtr="0" compatLnSpc="1">
            <a:prstTxWarp prst="textNoShape">
              <a:avLst/>
            </a:prstTxWarp>
          </a:bodyPr>
          <a:lstStyle/>
          <a:p>
            <a:pPr defTabSz="1018824" fontAlgn="base">
              <a:spcBef>
                <a:spcPct val="0"/>
              </a:spcBef>
              <a:spcAft>
                <a:spcPct val="0"/>
              </a:spcAft>
            </a:pPr>
            <a:endParaRPr lang="fr-FR" sz="1003">
              <a:ln>
                <a:solidFill>
                  <a:srgbClr val="FFC000"/>
                </a:solidFill>
              </a:ln>
              <a:noFill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4018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à coins arrondis 7"/>
          <p:cNvSpPr/>
          <p:nvPr/>
        </p:nvSpPr>
        <p:spPr bwMode="auto">
          <a:xfrm>
            <a:off x="761656" y="4501255"/>
            <a:ext cx="6258245" cy="185231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1886" tIns="50943" rIns="101886" bIns="50943" numCol="1" rtlCol="0" anchor="t" anchorCtr="0" compatLnSpc="1">
            <a:prstTxWarp prst="textNoShape">
              <a:avLst/>
            </a:prstTxWarp>
          </a:bodyPr>
          <a:lstStyle/>
          <a:p>
            <a:pPr defTabSz="1018824" fontAlgn="base">
              <a:spcBef>
                <a:spcPct val="0"/>
              </a:spcBef>
              <a:spcAft>
                <a:spcPct val="0"/>
              </a:spcAft>
            </a:pPr>
            <a:endParaRPr lang="fr-FR" sz="1003">
              <a:latin typeface="Arial" charset="0"/>
            </a:endParaRPr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/>
          </p:nvPr>
        </p:nvGraphicFramePr>
        <p:xfrm>
          <a:off x="761656" y="1762820"/>
          <a:ext cx="8986198" cy="2289545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5079155">
                  <a:extLst>
                    <a:ext uri="{9D8B030D-6E8A-4147-A177-3AD203B41FA5}">
                      <a16:colId xmlns:a16="http://schemas.microsoft.com/office/drawing/2014/main" val="229756847"/>
                    </a:ext>
                  </a:extLst>
                </a:gridCol>
                <a:gridCol w="3907043">
                  <a:extLst>
                    <a:ext uri="{9D8B030D-6E8A-4147-A177-3AD203B41FA5}">
                      <a16:colId xmlns:a16="http://schemas.microsoft.com/office/drawing/2014/main" val="4168802032"/>
                    </a:ext>
                  </a:extLst>
                </a:gridCol>
              </a:tblGrid>
              <a:tr h="3879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mbre de</a:t>
                      </a:r>
                      <a:r>
                        <a:rPr lang="fr-FR" sz="18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campagnes</a:t>
                      </a:r>
                      <a:endParaRPr lang="fr-FR" sz="1800" b="1" dirty="0" smtClean="0">
                        <a:solidFill>
                          <a:srgbClr val="00206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1886" marR="101886" marT="50943" marB="509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b="1" kern="1200" dirty="0" smtClean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3 </a:t>
                      </a:r>
                      <a:endParaRPr lang="fr-FR" sz="1800" b="1" kern="1200" dirty="0">
                        <a:solidFill>
                          <a:srgbClr val="002060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01886" marR="101886" marT="50943" marB="50943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08480253"/>
                  </a:ext>
                </a:extLst>
              </a:tr>
              <a:tr h="3879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ss mails effectués entre le :</a:t>
                      </a:r>
                      <a:endParaRPr lang="fr-FR" sz="1800" b="1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1886" marR="101886" marT="50943" marB="509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 mars et le 10 décembre 2020</a:t>
                      </a:r>
                      <a:endParaRPr lang="fr-FR" sz="1800" b="1" dirty="0" smtClean="0">
                        <a:solidFill>
                          <a:srgbClr val="00206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1886" marR="101886" marT="50943" marB="50943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96498041"/>
                  </a:ext>
                </a:extLst>
              </a:tr>
              <a:tr h="41930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mbre</a:t>
                      </a:r>
                      <a:r>
                        <a:rPr lang="fr-FR" sz="18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e mails transmis</a:t>
                      </a:r>
                      <a:endParaRPr lang="fr-FR" sz="1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1886" marR="101886" marT="50943" marB="509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2000" b="1" kern="1200" dirty="0" smtClean="0">
                          <a:solidFill>
                            <a:srgbClr val="FF9933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 192 533</a:t>
                      </a:r>
                      <a:endParaRPr lang="fr-FR" sz="2000" b="1" dirty="0">
                        <a:solidFill>
                          <a:srgbClr val="FF9933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1886" marR="101886" marT="50943" marB="50943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57372123"/>
                  </a:ext>
                </a:extLst>
              </a:tr>
              <a:tr h="3843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mbre de mails aboutis</a:t>
                      </a:r>
                      <a:endParaRPr lang="fr-FR" sz="16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1886" marR="101886" marT="50943" marB="509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b="1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r>
                        <a:rPr lang="fr-FR" sz="1800" b="1" baseline="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128 900</a:t>
                      </a:r>
                      <a:endParaRPr lang="fr-FR" sz="1800" b="1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1886" marR="101886" marT="50943" marB="50943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68995725"/>
                  </a:ext>
                </a:extLst>
              </a:tr>
              <a:tr h="355005">
                <a:tc>
                  <a:txBody>
                    <a:bodyPr/>
                    <a:lstStyle/>
                    <a:p>
                      <a:r>
                        <a:rPr lang="fr-FR" sz="16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aux</a:t>
                      </a:r>
                      <a:r>
                        <a:rPr lang="fr-FR" sz="1600" b="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moyen mails aboutis </a:t>
                      </a:r>
                      <a:endParaRPr lang="fr-FR" sz="16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1886" marR="101886" marT="50943" marB="509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600" b="0" kern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8,</a:t>
                      </a:r>
                      <a:r>
                        <a:rPr lang="fr-FR" sz="1600" b="0" kern="120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57 %</a:t>
                      </a:r>
                      <a:endParaRPr lang="fr-FR" sz="1600" b="0" kern="1200" dirty="0">
                        <a:solidFill>
                          <a:srgbClr val="002060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01886" marR="101886" marT="50943" marB="50943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14879522"/>
                  </a:ext>
                </a:extLst>
              </a:tr>
              <a:tr h="355005">
                <a:tc>
                  <a:txBody>
                    <a:bodyPr/>
                    <a:lstStyle/>
                    <a:p>
                      <a:r>
                        <a:rPr lang="fr-FR" sz="16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aux</a:t>
                      </a:r>
                      <a:r>
                        <a:rPr lang="fr-FR" sz="1600" b="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moyen d’ouverture </a:t>
                      </a:r>
                      <a:endParaRPr lang="fr-FR" sz="16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1886" marR="101886" marT="50943" marB="5094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6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2,</a:t>
                      </a:r>
                      <a:r>
                        <a:rPr lang="fr-FR" sz="1600" b="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18 %</a:t>
                      </a:r>
                      <a:endParaRPr lang="fr-FR" sz="1600" b="0" dirty="0">
                        <a:solidFill>
                          <a:srgbClr val="00206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1886" marR="101886" marT="50943" marB="50943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77816909"/>
                  </a:ext>
                </a:extLst>
              </a:tr>
            </a:tbl>
          </a:graphicData>
        </a:graphic>
      </p:graphicFrame>
      <p:sp>
        <p:nvSpPr>
          <p:cNvPr id="5" name="Rectangle à coins arrondis 4"/>
          <p:cNvSpPr/>
          <p:nvPr/>
        </p:nvSpPr>
        <p:spPr bwMode="auto">
          <a:xfrm>
            <a:off x="601188" y="544222"/>
            <a:ext cx="9146666" cy="754616"/>
          </a:xfrm>
          <a:prstGeom prst="roundRect">
            <a:avLst/>
          </a:prstGeom>
          <a:solidFill>
            <a:schemeClr val="accent1"/>
          </a:solidFill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1886" tIns="50943" rIns="101886" bIns="50943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fr-FR" sz="891" b="1" baseline="30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fr-FR" sz="891" b="1" baseline="30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fr-FR" sz="4011" b="1" baseline="30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ynthèse spécifique aux envois DSN suite à la crise sanitaire</a:t>
            </a:r>
            <a:endParaRPr lang="fr-FR" sz="4011" baseline="30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761656" y="1747729"/>
            <a:ext cx="8986198" cy="2304635"/>
          </a:xfrm>
          <a:prstGeom prst="rect">
            <a:avLst/>
          </a:prstGeom>
          <a:noFill/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1886" tIns="50943" rIns="101886" bIns="50943" numCol="1" rtlCol="0" anchor="t" anchorCtr="0" compatLnSpc="1">
            <a:prstTxWarp prst="textNoShape">
              <a:avLst/>
            </a:prstTxWarp>
          </a:bodyPr>
          <a:lstStyle/>
          <a:p>
            <a:pPr defTabSz="1018824" fontAlgn="base">
              <a:spcBef>
                <a:spcPct val="0"/>
              </a:spcBef>
              <a:spcAft>
                <a:spcPct val="0"/>
              </a:spcAft>
            </a:pPr>
            <a:endParaRPr lang="fr-FR" sz="1003">
              <a:ln>
                <a:solidFill>
                  <a:srgbClr val="FFC000"/>
                </a:solidFill>
              </a:ln>
              <a:noFill/>
              <a:latin typeface="Arial" charset="0"/>
            </a:endParaRPr>
          </a:p>
        </p:txBody>
      </p:sp>
      <p:sp>
        <p:nvSpPr>
          <p:cNvPr id="11" name="Rectangle à coins arrondis 10"/>
          <p:cNvSpPr/>
          <p:nvPr/>
        </p:nvSpPr>
        <p:spPr bwMode="auto">
          <a:xfrm>
            <a:off x="7260603" y="4501255"/>
            <a:ext cx="2567485" cy="1852319"/>
          </a:xfrm>
          <a:prstGeom prst="roundRect">
            <a:avLst/>
          </a:prstGeom>
          <a:solidFill>
            <a:srgbClr val="00B0E6"/>
          </a:solidFill>
          <a:ln w="19050" cap="flat" cmpd="sng" algn="ctr">
            <a:solidFill>
              <a:srgbClr val="FF993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1886" tIns="50943" rIns="101886" bIns="50943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783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dice Global de Qualité</a:t>
            </a:r>
          </a:p>
          <a:p>
            <a:pPr algn="ctr"/>
            <a:r>
              <a:rPr lang="fr-FR" sz="1783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s envois DSN</a:t>
            </a:r>
          </a:p>
          <a:p>
            <a:pPr algn="ctr"/>
            <a:r>
              <a:rPr lang="fr-FR" sz="2674" b="1" dirty="0">
                <a:solidFill>
                  <a:srgbClr val="FFC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4</a:t>
            </a:r>
          </a:p>
          <a:p>
            <a:pPr algn="ctr"/>
            <a:endParaRPr lang="fr-FR" sz="891" b="1" dirty="0">
              <a:solidFill>
                <a:srgbClr val="FFC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fr-FR" sz="2674" b="1" dirty="0">
                <a:latin typeface="Calibri" panose="020F0502020204030204" pitchFamily="34" charset="0"/>
                <a:cs typeface="Calibri" panose="020F0502020204030204" pitchFamily="34" charset="0"/>
              </a:rPr>
              <a:t>100</a:t>
            </a:r>
          </a:p>
          <a:p>
            <a:endParaRPr lang="fr-FR" sz="156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2" name="Connecteur droit 11"/>
          <p:cNvCxnSpPr/>
          <p:nvPr/>
        </p:nvCxnSpPr>
        <p:spPr bwMode="auto">
          <a:xfrm>
            <a:off x="8062942" y="5679192"/>
            <a:ext cx="952135" cy="0"/>
          </a:xfrm>
          <a:prstGeom prst="line">
            <a:avLst/>
          </a:prstGeom>
          <a:solidFill>
            <a:schemeClr val="accent1"/>
          </a:solidFill>
          <a:ln w="34925" cap="flat" cmpd="sng" algn="ctr">
            <a:solidFill>
              <a:schemeClr val="accent5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Espace réservé du contenu 2"/>
          <p:cNvSpPr>
            <a:spLocks noGrp="1"/>
          </p:cNvSpPr>
          <p:nvPr>
            <p:ph idx="1"/>
          </p:nvPr>
        </p:nvSpPr>
        <p:spPr>
          <a:xfrm>
            <a:off x="593839" y="4646513"/>
            <a:ext cx="7782690" cy="2637358"/>
          </a:xfrm>
        </p:spPr>
        <p:txBody>
          <a:bodyPr/>
          <a:lstStyle/>
          <a:p>
            <a:pPr marL="498799" lvl="1" indent="-203412" defTabSz="350221">
              <a:spcBef>
                <a:spcPts val="0"/>
              </a:spcBef>
              <a:buFont typeface="Wingdings" panose="05000000000000000000" pitchFamily="2" charset="2"/>
              <a:buChar char="Ø"/>
              <a:tabLst>
                <a:tab pos="604927" algn="l"/>
                <a:tab pos="6599365" algn="l"/>
              </a:tabLst>
            </a:pPr>
            <a:endParaRPr lang="fr-FR" sz="1560" b="1" dirty="0"/>
          </a:p>
          <a:p>
            <a:pPr marL="498799" lvl="1" indent="-203412" defTabSz="350221">
              <a:spcBef>
                <a:spcPts val="0"/>
              </a:spcBef>
              <a:buFont typeface="Wingdings" panose="05000000000000000000" pitchFamily="2" charset="2"/>
              <a:buChar char="Ø"/>
              <a:tabLst>
                <a:tab pos="604927" algn="l"/>
                <a:tab pos="6599365" algn="l"/>
              </a:tabLst>
            </a:pPr>
            <a:r>
              <a:rPr lang="fr-FR" sz="1560" b="1" dirty="0"/>
              <a:t> Le taux d’ouverture des mails est de </a:t>
            </a:r>
            <a:r>
              <a:rPr lang="fr-FR" sz="1560" b="1" dirty="0">
                <a:solidFill>
                  <a:srgbClr val="002060"/>
                </a:solidFill>
              </a:rPr>
              <a:t>plu</a:t>
            </a:r>
            <a:r>
              <a:rPr lang="fr-FR" sz="156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 </a:t>
            </a:r>
            <a:r>
              <a:rPr lang="fr-FR" sz="1560" b="1" dirty="0"/>
              <a:t>de </a:t>
            </a:r>
            <a:r>
              <a:rPr lang="fr-FR" sz="1560" b="1" dirty="0">
                <a:solidFill>
                  <a:schemeClr val="tx1">
                    <a:lumMod val="60000"/>
                    <a:lumOff val="40000"/>
                  </a:schemeClr>
                </a:solidFill>
              </a:rPr>
              <a:t>42,18 %</a:t>
            </a:r>
          </a:p>
          <a:p>
            <a:pPr marL="794188" lvl="1" indent="-201642" defTabSz="350221">
              <a:spcBef>
                <a:spcPts val="0"/>
              </a:spcBef>
              <a:buFont typeface="Arial" panose="020B0604020202020204" pitchFamily="34" charset="0"/>
              <a:buChar char="•"/>
              <a:tabLst>
                <a:tab pos="6599365" algn="l"/>
              </a:tabLst>
            </a:pPr>
            <a:r>
              <a:rPr lang="fr-FR" sz="156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  taux moyen d’ouverture de mails en France* est de 25 %</a:t>
            </a:r>
          </a:p>
          <a:p>
            <a:pPr marL="6100566" lvl="1">
              <a:spcBef>
                <a:spcPts val="0"/>
              </a:spcBef>
              <a:buNone/>
            </a:pPr>
            <a:endParaRPr lang="fr-FR" sz="1114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03285" indent="0">
              <a:spcBef>
                <a:spcPts val="0"/>
              </a:spcBef>
              <a:buFont typeface="Wingdings" panose="05000000000000000000" pitchFamily="2" charset="2"/>
              <a:buChar char="Ø"/>
            </a:pPr>
            <a:endParaRPr lang="fr-FR" sz="891" dirty="0"/>
          </a:p>
          <a:p>
            <a:pPr marL="295389" indent="0"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fr-FR" sz="1560" dirty="0"/>
              <a:t>   Le taux de réactivité est de </a:t>
            </a:r>
            <a:r>
              <a:rPr lang="fr-FR" sz="156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6,86 %</a:t>
            </a:r>
          </a:p>
          <a:p>
            <a:pPr marL="794188" lvl="1" indent="-201642">
              <a:spcBef>
                <a:spcPts val="0"/>
              </a:spcBef>
              <a:buFont typeface="Arial" panose="020B0604020202020204" pitchFamily="34" charset="0"/>
              <a:buChar char="•"/>
              <a:tabLst>
                <a:tab pos="6599365" algn="l"/>
              </a:tabLst>
            </a:pPr>
            <a:r>
              <a:rPr lang="fr-FR" sz="156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Le taux moyen de réactivité an France* se situe entre 1,2 et 3 %	</a:t>
            </a:r>
          </a:p>
          <a:p>
            <a:pPr marL="95515" indent="0">
              <a:spcBef>
                <a:spcPts val="0"/>
              </a:spcBef>
              <a:buNone/>
              <a:tabLst>
                <a:tab pos="5295765" algn="l"/>
                <a:tab pos="6397723" algn="l"/>
              </a:tabLst>
            </a:pPr>
            <a:endParaRPr lang="fr-FR" sz="156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5515" indent="0">
              <a:spcBef>
                <a:spcPts val="0"/>
              </a:spcBef>
              <a:buNone/>
              <a:tabLst>
                <a:tab pos="5295765" algn="l"/>
                <a:tab pos="6397723" algn="l"/>
              </a:tabLst>
            </a:pPr>
            <a:endParaRPr lang="fr-FR" sz="156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5515" indent="0">
              <a:spcBef>
                <a:spcPts val="0"/>
              </a:spcBef>
              <a:buNone/>
              <a:tabLst>
                <a:tab pos="5295765" algn="l"/>
                <a:tab pos="6397723" algn="l"/>
              </a:tabLst>
            </a:pPr>
            <a:r>
              <a:rPr lang="fr-FR" sz="1560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Sources: </a:t>
            </a:r>
          </a:p>
          <a:p>
            <a:pPr marL="95515" indent="0">
              <a:spcBef>
                <a:spcPts val="0"/>
              </a:spcBef>
              <a:buNone/>
              <a:tabLst>
                <a:tab pos="5295765" algn="l"/>
                <a:tab pos="6397723" algn="l"/>
              </a:tabLst>
            </a:pPr>
            <a:r>
              <a:rPr lang="fr-FR" sz="1560" b="0" dirty="0">
                <a:solidFill>
                  <a:srgbClr val="4545A1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www.sendinblue.com</a:t>
            </a:r>
            <a:r>
              <a:rPr lang="fr-FR" sz="1560" b="0" dirty="0">
                <a:solidFill>
                  <a:srgbClr val="4545A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// </a:t>
            </a:r>
            <a:r>
              <a:rPr lang="fr-FR" sz="1560" b="0" dirty="0">
                <a:solidFill>
                  <a:srgbClr val="4545A1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www.plezi.co/fr</a:t>
            </a:r>
            <a:r>
              <a:rPr lang="fr-FR" sz="1560" b="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/</a:t>
            </a:r>
            <a:endParaRPr lang="fr-FR" sz="1560" b="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97031" indent="-497031" algn="just">
              <a:spcBef>
                <a:spcPts val="0"/>
              </a:spcBef>
              <a:buFont typeface="Wingdings" panose="05000000000000000000" pitchFamily="2" charset="2"/>
              <a:buChar char="Ø"/>
            </a:pPr>
            <a:endParaRPr lang="fr-FR" sz="156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5515" indent="0" algn="just">
              <a:spcBef>
                <a:spcPts val="0"/>
              </a:spcBef>
              <a:buNone/>
            </a:pPr>
            <a:endParaRPr lang="fr-FR" sz="156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5515" indent="0" algn="just">
              <a:spcBef>
                <a:spcPts val="0"/>
              </a:spcBef>
              <a:buNone/>
            </a:pPr>
            <a:endParaRPr lang="fr-FR" sz="156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5515" indent="0" algn="just">
              <a:spcBef>
                <a:spcPts val="0"/>
              </a:spcBef>
              <a:buNone/>
            </a:pPr>
            <a:endParaRPr lang="fr-FR" sz="156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01642" indent="307770"/>
            <a:endParaRPr lang="fr-FR" sz="1560" b="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fr-FR" sz="1560" i="1" dirty="0"/>
          </a:p>
          <a:p>
            <a:pPr marL="0" indent="0">
              <a:buNone/>
            </a:pPr>
            <a:endParaRPr lang="fr-FR" sz="1560" i="1" dirty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13158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21812" y="205031"/>
            <a:ext cx="9144954" cy="592501"/>
          </a:xfrm>
        </p:spPr>
        <p:txBody>
          <a:bodyPr/>
          <a:lstStyle/>
          <a:p>
            <a:pPr lvl="0" defTabSz="1018824">
              <a:defRPr/>
            </a:pPr>
            <a:r>
              <a:rPr lang="fr-FR" sz="2240" i="1" dirty="0" smtClean="0">
                <a:latin typeface="Calibri" pitchFamily="34" charset="0"/>
              </a:rPr>
              <a:t>Exemple d’actions réalisées hors crise Covid </a:t>
            </a:r>
            <a:endParaRPr lang="fr-FR" sz="2240" i="1" dirty="0">
              <a:latin typeface="Calibri" pitchFamily="34" charset="0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71018" y="689365"/>
            <a:ext cx="9446542" cy="6307126"/>
          </a:xfrm>
        </p:spPr>
        <p:txBody>
          <a:bodyPr/>
          <a:lstStyle/>
          <a:p>
            <a:r>
              <a:rPr lang="fr-FR" dirty="0" smtClean="0"/>
              <a:t>Des mails réguliers depuis la rentrée</a:t>
            </a:r>
          </a:p>
          <a:p>
            <a:pPr marL="531813" indent="-265113"/>
            <a:r>
              <a:rPr lang="fr-FR" sz="1800" dirty="0" smtClean="0"/>
              <a:t>Aux </a:t>
            </a:r>
            <a:r>
              <a:rPr lang="fr-FR" sz="1800" dirty="0"/>
              <a:t>D</a:t>
            </a:r>
            <a:r>
              <a:rPr lang="fr-FR" sz="1800" dirty="0" smtClean="0"/>
              <a:t>éclarants Directs – cibles régionales :</a:t>
            </a:r>
          </a:p>
          <a:p>
            <a:pPr lvl="1">
              <a:spcBef>
                <a:spcPts val="600"/>
              </a:spcBef>
            </a:pPr>
            <a:r>
              <a:rPr lang="fr-FR" dirty="0" smtClean="0"/>
              <a:t>15 </a:t>
            </a:r>
            <a:r>
              <a:rPr lang="fr-FR" dirty="0"/>
              <a:t>Octobre : </a:t>
            </a:r>
            <a:r>
              <a:rPr lang="fr-FR" i="1" dirty="0"/>
              <a:t>Carsat </a:t>
            </a:r>
            <a:r>
              <a:rPr lang="fr-FR" i="1" dirty="0" smtClean="0"/>
              <a:t>Aquitaine (Document </a:t>
            </a:r>
            <a:r>
              <a:rPr lang="fr-FR" i="1" dirty="0"/>
              <a:t>unique </a:t>
            </a:r>
            <a:r>
              <a:rPr lang="fr-FR" i="1" dirty="0" smtClean="0"/>
              <a:t>opérationnel</a:t>
            </a:r>
          </a:p>
          <a:p>
            <a:pPr lvl="1">
              <a:spcBef>
                <a:spcPts val="600"/>
              </a:spcBef>
            </a:pPr>
            <a:r>
              <a:rPr lang="fr-FR" i="1" dirty="0" smtClean="0"/>
              <a:t>20 octobre : </a:t>
            </a:r>
            <a:r>
              <a:rPr lang="fr-FR" i="1" dirty="0"/>
              <a:t>Carsat </a:t>
            </a:r>
            <a:r>
              <a:rPr lang="fr-FR" i="1" dirty="0" smtClean="0"/>
              <a:t>Midi-Pyrénées (Compte </a:t>
            </a:r>
            <a:r>
              <a:rPr lang="fr-FR" i="1" dirty="0"/>
              <a:t>AT/MP et </a:t>
            </a:r>
            <a:r>
              <a:rPr lang="fr-FR" i="1" dirty="0" smtClean="0"/>
              <a:t>Subventions Prévention)</a:t>
            </a:r>
          </a:p>
          <a:p>
            <a:pPr lvl="1">
              <a:spcBef>
                <a:spcPts val="600"/>
              </a:spcBef>
            </a:pPr>
            <a:r>
              <a:rPr lang="fr-FR" i="1" dirty="0" smtClean="0"/>
              <a:t>22 </a:t>
            </a:r>
            <a:r>
              <a:rPr lang="fr-FR" i="1" dirty="0"/>
              <a:t>octobre : Carsat </a:t>
            </a:r>
            <a:r>
              <a:rPr lang="fr-FR" i="1" dirty="0" smtClean="0"/>
              <a:t> Hauts-de-France (Prévenir </a:t>
            </a:r>
            <a:r>
              <a:rPr lang="fr-FR" i="1" dirty="0"/>
              <a:t>les risques </a:t>
            </a:r>
            <a:r>
              <a:rPr lang="fr-FR" i="1" dirty="0" smtClean="0"/>
              <a:t>psychosociaux)</a:t>
            </a:r>
          </a:p>
          <a:p>
            <a:pPr lvl="1">
              <a:spcBef>
                <a:spcPts val="600"/>
              </a:spcBef>
            </a:pPr>
            <a:r>
              <a:rPr lang="fr-FR" i="1" dirty="0" smtClean="0"/>
              <a:t>27 </a:t>
            </a:r>
            <a:r>
              <a:rPr lang="fr-FR" i="1" dirty="0"/>
              <a:t>octobre : </a:t>
            </a:r>
            <a:r>
              <a:rPr lang="fr-FR" i="1" dirty="0" smtClean="0"/>
              <a:t>Carsat </a:t>
            </a:r>
            <a:r>
              <a:rPr lang="fr-FR" i="1" dirty="0"/>
              <a:t>Hauts-de-France </a:t>
            </a:r>
            <a:r>
              <a:rPr lang="fr-FR" i="1" dirty="0" smtClean="0"/>
              <a:t>(Toilage, accidents gravissimes)</a:t>
            </a:r>
          </a:p>
          <a:p>
            <a:pPr marL="531813" indent="-265113"/>
            <a:r>
              <a:rPr lang="fr-FR" sz="1800" dirty="0"/>
              <a:t>Aux Déclarants Directs – cibles régionales :</a:t>
            </a:r>
          </a:p>
          <a:p>
            <a:pPr lvl="1">
              <a:spcBef>
                <a:spcPts val="600"/>
              </a:spcBef>
            </a:pPr>
            <a:r>
              <a:rPr lang="fr-FR" dirty="0" smtClean="0"/>
              <a:t>3 </a:t>
            </a:r>
            <a:r>
              <a:rPr lang="fr-FR" dirty="0"/>
              <a:t>novembre : </a:t>
            </a:r>
            <a:r>
              <a:rPr lang="fr-FR" i="1" dirty="0" err="1"/>
              <a:t>Carsat</a:t>
            </a:r>
            <a:r>
              <a:rPr lang="fr-FR" i="1" dirty="0"/>
              <a:t> Hauts-de-France (Analyser risque TMS)</a:t>
            </a:r>
            <a:endParaRPr lang="fr-FR" dirty="0"/>
          </a:p>
          <a:p>
            <a:pPr lvl="1">
              <a:spcBef>
                <a:spcPts val="600"/>
              </a:spcBef>
            </a:pPr>
            <a:r>
              <a:rPr lang="fr-FR" dirty="0"/>
              <a:t>3 novembre : </a:t>
            </a:r>
            <a:r>
              <a:rPr lang="fr-FR" dirty="0" err="1"/>
              <a:t>Carsat</a:t>
            </a:r>
            <a:r>
              <a:rPr lang="fr-FR" dirty="0"/>
              <a:t> Centre Ouest (Performance)</a:t>
            </a:r>
          </a:p>
          <a:p>
            <a:pPr lvl="1">
              <a:spcBef>
                <a:spcPts val="600"/>
              </a:spcBef>
            </a:pPr>
            <a:r>
              <a:rPr lang="fr-FR" dirty="0"/>
              <a:t>3 novembre : </a:t>
            </a:r>
            <a:r>
              <a:rPr lang="fr-FR" dirty="0" err="1"/>
              <a:t>Carsat</a:t>
            </a:r>
            <a:r>
              <a:rPr lang="fr-FR" dirty="0"/>
              <a:t> Midi Pyrénées  (Prévention pratiques addictives travail)</a:t>
            </a:r>
          </a:p>
          <a:p>
            <a:pPr lvl="1">
              <a:spcBef>
                <a:spcPts val="600"/>
              </a:spcBef>
            </a:pPr>
            <a:r>
              <a:rPr lang="fr-FR" dirty="0"/>
              <a:t>5 novembre : </a:t>
            </a:r>
            <a:r>
              <a:rPr lang="fr-FR" dirty="0" err="1"/>
              <a:t>Carsat</a:t>
            </a:r>
            <a:r>
              <a:rPr lang="fr-FR" dirty="0"/>
              <a:t> Bretagne (Compte AT/MP) </a:t>
            </a:r>
          </a:p>
          <a:p>
            <a:pPr lvl="1">
              <a:spcBef>
                <a:spcPts val="600"/>
              </a:spcBef>
            </a:pPr>
            <a:r>
              <a:rPr lang="fr-FR" dirty="0"/>
              <a:t>5 novembre : </a:t>
            </a:r>
            <a:r>
              <a:rPr lang="fr-FR" dirty="0" err="1"/>
              <a:t>Carsat</a:t>
            </a:r>
            <a:r>
              <a:rPr lang="fr-FR" dirty="0"/>
              <a:t> Centre Ouest (Q</a:t>
            </a:r>
            <a:r>
              <a:rPr lang="fr-FR" i="1" dirty="0"/>
              <a:t>ualité de vie au travail)</a:t>
            </a:r>
          </a:p>
          <a:p>
            <a:pPr lvl="1">
              <a:spcBef>
                <a:spcPts val="600"/>
              </a:spcBef>
            </a:pPr>
            <a:r>
              <a:rPr lang="fr-FR" dirty="0"/>
              <a:t>10 novembre : </a:t>
            </a:r>
            <a:r>
              <a:rPr lang="fr-FR" dirty="0" err="1"/>
              <a:t>Carsat</a:t>
            </a:r>
            <a:r>
              <a:rPr lang="fr-FR" dirty="0"/>
              <a:t> Normandie (</a:t>
            </a:r>
            <a:r>
              <a:rPr lang="fr-FR" i="1" dirty="0"/>
              <a:t>Plan de prévention des risques)</a:t>
            </a:r>
          </a:p>
          <a:p>
            <a:pPr lvl="1">
              <a:spcBef>
                <a:spcPts val="600"/>
              </a:spcBef>
            </a:pPr>
            <a:r>
              <a:rPr lang="fr-FR" i="1" dirty="0"/>
              <a:t>17 novembre : </a:t>
            </a:r>
            <a:r>
              <a:rPr lang="fr-FR" i="1" dirty="0" err="1"/>
              <a:t>Carsat</a:t>
            </a:r>
            <a:r>
              <a:rPr lang="fr-FR" i="1" dirty="0"/>
              <a:t> Centre Ouest (Offre formation)</a:t>
            </a:r>
          </a:p>
          <a:p>
            <a:pPr lvl="1">
              <a:spcBef>
                <a:spcPts val="600"/>
              </a:spcBef>
            </a:pPr>
            <a:r>
              <a:rPr lang="fr-FR" i="1" dirty="0"/>
              <a:t>26 novembre : </a:t>
            </a:r>
            <a:r>
              <a:rPr lang="fr-FR" i="1" dirty="0" err="1"/>
              <a:t>Carsat</a:t>
            </a:r>
            <a:r>
              <a:rPr lang="fr-FR" i="1" dirty="0"/>
              <a:t>  Pays de la Loire (Prévenir l’épuisement professionnel)</a:t>
            </a:r>
            <a:endParaRPr lang="fr-FR" dirty="0"/>
          </a:p>
          <a:p>
            <a:pPr marL="509412" lvl="1" indent="0">
              <a:spcBef>
                <a:spcPts val="600"/>
              </a:spcBef>
              <a:buNone/>
            </a:pPr>
            <a:endParaRPr lang="fr-FR" sz="1000" i="1" dirty="0"/>
          </a:p>
          <a:p>
            <a:pPr lvl="1">
              <a:spcBef>
                <a:spcPts val="600"/>
              </a:spcBef>
            </a:pPr>
            <a:r>
              <a:rPr lang="fr-FR" i="1" dirty="0"/>
              <a:t>3 décembre : </a:t>
            </a:r>
            <a:r>
              <a:rPr lang="fr-FR" i="1" dirty="0" err="1"/>
              <a:t>Carsat</a:t>
            </a:r>
            <a:r>
              <a:rPr lang="fr-FR" i="1" dirty="0"/>
              <a:t> Languedoc-Roussillon (Prévention accidents)</a:t>
            </a:r>
          </a:p>
          <a:p>
            <a:pPr lvl="1">
              <a:spcBef>
                <a:spcPts val="600"/>
              </a:spcBef>
            </a:pPr>
            <a:r>
              <a:rPr lang="fr-FR" i="1" dirty="0"/>
              <a:t>8 décembre : </a:t>
            </a:r>
            <a:r>
              <a:rPr lang="fr-FR" i="1" dirty="0" err="1"/>
              <a:t>Carsat</a:t>
            </a:r>
            <a:r>
              <a:rPr lang="fr-FR" i="1" dirty="0"/>
              <a:t> Bretagne (Accidents du travail et maladies professionnelles)</a:t>
            </a:r>
          </a:p>
          <a:p>
            <a:pPr marL="509412" lvl="1" indent="0">
              <a:spcBef>
                <a:spcPts val="600"/>
              </a:spcBef>
              <a:buNone/>
            </a:pPr>
            <a:r>
              <a:rPr lang="fr-FR" i="1" dirty="0"/>
              <a:t> </a:t>
            </a:r>
            <a:endParaRPr lang="fr-FR" dirty="0"/>
          </a:p>
          <a:p>
            <a:pPr marL="509412" lvl="1" indent="0">
              <a:spcBef>
                <a:spcPts val="600"/>
              </a:spcBef>
              <a:buNone/>
            </a:pPr>
            <a:endParaRPr lang="fr-FR" i="1" dirty="0" smtClean="0"/>
          </a:p>
          <a:p>
            <a:pPr marL="509412" lvl="1" indent="0">
              <a:spcBef>
                <a:spcPts val="600"/>
              </a:spcBef>
              <a:buNone/>
            </a:pPr>
            <a:endParaRPr lang="fr-FR" sz="800" i="1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BA4BC9F-D276-4D76-BA30-608D21EF5ECE}" type="slidenum">
              <a:rPr lang="fr-FR" smtClean="0">
                <a:solidFill>
                  <a:srgbClr val="FFFFFF"/>
                </a:solidFill>
              </a:rPr>
              <a:pPr>
                <a:defRPr/>
              </a:pPr>
              <a:t>13</a:t>
            </a:fld>
            <a:endParaRPr lang="fr-FR">
              <a:solidFill>
                <a:srgbClr val="FFFFFF"/>
              </a:solidFill>
            </a:endParaRPr>
          </a:p>
        </p:txBody>
      </p:sp>
      <p:pic>
        <p:nvPicPr>
          <p:cNvPr id="56325" name="Picture 4" descr="WebResourc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0975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326" name="Picture 5" descr="WebResourc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0975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328" name="Picture 7" descr="WebResourc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0975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329" name="Picture 8" descr="WebResourc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0975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331" name="Picture 10" descr="WebResourc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0975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332" name="Picture 11" descr="WebResourc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0975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334" name="Picture 13" descr="WebResourc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0975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335" name="Picture 14" descr="WebResourc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0975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337" name="Picture 16" descr="WebResourc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0975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338" name="Picture 17" descr="WebResourc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0975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340" name="Picture 19" descr="WebResourc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0975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341" name="Picture 20" descr="WebResourc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0975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343" name="Picture 22" descr="WebResourc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0975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344" name="Picture 23" descr="WebResourc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0975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346" name="Picture 25" descr="WebResourc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0975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347" name="Picture 26" descr="WebResourc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0975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349" name="Picture 28" descr="WebResourc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0975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350" name="Picture 29" descr="WebResourc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0975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352" name="Picture 31" descr="WebResourc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0975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353" name="Picture 32" descr="WebResourc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0975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355" name="Picture 34" descr="WebResourc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0975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356" name="Picture 35" descr="WebResourc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0975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358" name="Picture 37" descr="WebResourc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0975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6298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Espace réservé du numéro de diapositive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C0917702-3B4E-4EE9-B9E8-F83C071DA5C9}" type="slidenum">
              <a:rPr lang="fr-FR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pPr/>
              <a:t>14</a:t>
            </a:fld>
            <a:endParaRPr lang="fr-FR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8851" name="Image 4" descr="LOGO_DSN_diapo_RVB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0845" y="5873296"/>
            <a:ext cx="1363784" cy="1491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4"/>
          <p:cNvSpPr txBox="1">
            <a:spLocks noChangeArrowheads="1"/>
          </p:cNvSpPr>
          <p:nvPr/>
        </p:nvSpPr>
        <p:spPr bwMode="auto">
          <a:xfrm>
            <a:off x="275940" y="1923456"/>
            <a:ext cx="9636694" cy="3595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2475" tIns="51237" rIns="102475" bIns="51237"/>
          <a:lstStyle/>
          <a:p>
            <a:pPr algn="ctr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fr-FR" sz="3565" b="1" kern="0" dirty="0">
              <a:solidFill>
                <a:srgbClr val="00B0E6"/>
              </a:solidFill>
              <a:latin typeface="Calibri" pitchFamily="34" charset="0"/>
            </a:endParaRPr>
          </a:p>
          <a:p>
            <a:pPr algn="ctr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fr-FR" sz="4011" b="1" i="1" kern="0" dirty="0">
              <a:solidFill>
                <a:srgbClr val="00B0E6"/>
              </a:solidFill>
              <a:latin typeface="Calibri" pitchFamily="34" charset="0"/>
            </a:endParaRPr>
          </a:p>
          <a:p>
            <a:pPr marL="382059" lvl="0" indent="-382059" eaLnBrk="0" fontAlgn="base" hangingPunct="0">
              <a:lnSpc>
                <a:spcPct val="90000"/>
              </a:lnSpc>
              <a:spcBef>
                <a:spcPct val="75000"/>
              </a:spcBef>
              <a:spcAft>
                <a:spcPct val="0"/>
              </a:spcAft>
              <a:buSzPct val="125000"/>
              <a:buBlip>
                <a:blip r:embed="rId4"/>
              </a:buBlip>
            </a:pPr>
            <a:r>
              <a:rPr lang="fr-FR" sz="2800" b="1" dirty="0"/>
              <a:t>Point sur les relations presse du GIP-MDS </a:t>
            </a:r>
          </a:p>
        </p:txBody>
      </p:sp>
      <p:pic>
        <p:nvPicPr>
          <p:cNvPr id="5" name="Picture 3" descr="C:\Users\flelogeais\AppData\Local\Microsoft\Windows\Temporary Internet Files\Content.Outlook\I9SEFXJ7\LOGO gip-mds seul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5843" y="223286"/>
            <a:ext cx="1649556" cy="80233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619050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re 1"/>
          <p:cNvSpPr>
            <a:spLocks noGrp="1"/>
          </p:cNvSpPr>
          <p:nvPr>
            <p:ph type="title"/>
          </p:nvPr>
        </p:nvSpPr>
        <p:spPr>
          <a:xfrm>
            <a:off x="521812" y="291419"/>
            <a:ext cx="9144954" cy="768454"/>
          </a:xfrm>
        </p:spPr>
        <p:txBody>
          <a:bodyPr/>
          <a:lstStyle/>
          <a:p>
            <a:r>
              <a:rPr lang="fr-FR" altLang="fr-FR" smtClean="0"/>
              <a:t>Communiqués diffusés en 2019</a:t>
            </a:r>
          </a:p>
        </p:txBody>
      </p:sp>
      <p:sp>
        <p:nvSpPr>
          <p:cNvPr id="37891" name="Espace réservé du contenu 2"/>
          <p:cNvSpPr>
            <a:spLocks noGrp="1"/>
          </p:cNvSpPr>
          <p:nvPr>
            <p:ph idx="1"/>
          </p:nvPr>
        </p:nvSpPr>
        <p:spPr>
          <a:xfrm>
            <a:off x="521812" y="1401288"/>
            <a:ext cx="9111346" cy="5391398"/>
          </a:xfrm>
        </p:spPr>
        <p:txBody>
          <a:bodyPr/>
          <a:lstStyle/>
          <a:p>
            <a:endParaRPr lang="fr-FR" altLang="fr-FR" sz="891" dirty="0"/>
          </a:p>
          <a:p>
            <a:r>
              <a:rPr lang="fr-FR" altLang="fr-FR" dirty="0"/>
              <a:t>La Fonction publique en DSN, 5 vidéos pour tout comprendre</a:t>
            </a:r>
          </a:p>
          <a:p>
            <a:r>
              <a:rPr lang="fr-FR" altLang="fr-FR" dirty="0" smtClean="0"/>
              <a:t>La </a:t>
            </a:r>
            <a:r>
              <a:rPr lang="fr-FR" altLang="fr-FR" dirty="0"/>
              <a:t>Fonction publique en DSN, c’est demain !</a:t>
            </a:r>
          </a:p>
          <a:p>
            <a:r>
              <a:rPr lang="fr-FR" altLang="fr-FR" dirty="0" smtClean="0"/>
              <a:t>74ème </a:t>
            </a:r>
            <a:r>
              <a:rPr lang="fr-FR" altLang="fr-FR" dirty="0"/>
              <a:t>Congrès de l’Ordre des experts-comptables Le GIP-MDS et le CSOEC, au </a:t>
            </a:r>
            <a:r>
              <a:rPr lang="fr-FR" altLang="fr-FR" dirty="0" err="1"/>
              <a:t>coeur</a:t>
            </a:r>
            <a:r>
              <a:rPr lang="fr-FR" altLang="fr-FR" dirty="0"/>
              <a:t> des flux de données sociales</a:t>
            </a:r>
          </a:p>
          <a:p>
            <a:r>
              <a:rPr lang="fr-FR" altLang="fr-FR" dirty="0" smtClean="0"/>
              <a:t>Un </a:t>
            </a:r>
            <a:r>
              <a:rPr lang="fr-FR" altLang="fr-FR" dirty="0"/>
              <a:t>nouveau site internet institutionnel pour le GIP-MDS !</a:t>
            </a:r>
          </a:p>
          <a:p>
            <a:r>
              <a:rPr lang="fr-FR" altLang="fr-FR" dirty="0" smtClean="0"/>
              <a:t>Le </a:t>
            </a:r>
            <a:r>
              <a:rPr lang="fr-FR" altLang="fr-FR" dirty="0"/>
              <a:t>collectif GIP-MDS s’agrandit !</a:t>
            </a:r>
          </a:p>
          <a:p>
            <a:r>
              <a:rPr lang="fr-FR" altLang="fr-FR" dirty="0" smtClean="0"/>
              <a:t>Présidence </a:t>
            </a:r>
            <a:r>
              <a:rPr lang="fr-FR" altLang="fr-FR" dirty="0"/>
              <a:t>du GIP-MDS : Eric Hayat réélu pour poursuivre la digitalisation de la </a:t>
            </a:r>
            <a:r>
              <a:rPr lang="fr-FR" altLang="fr-FR" dirty="0" smtClean="0"/>
              <a:t>protection sociale</a:t>
            </a:r>
          </a:p>
          <a:p>
            <a:endParaRPr lang="fr-FR" altLang="fr-FR" dirty="0"/>
          </a:p>
          <a:p>
            <a:r>
              <a:rPr lang="fr-FR" altLang="fr-FR" dirty="0" smtClean="0"/>
              <a:t>Pour un total de 1480 articles qualifiés en 2019</a:t>
            </a:r>
            <a:endParaRPr lang="fr-FR" altLang="fr-FR" dirty="0"/>
          </a:p>
        </p:txBody>
      </p:sp>
      <p:sp>
        <p:nvSpPr>
          <p:cNvPr id="37892" name="Espace réservé du numéro de diapositive 3"/>
          <p:cNvSpPr>
            <a:spLocks noGrp="1"/>
          </p:cNvSpPr>
          <p:nvPr>
            <p:ph type="sldNum" sz="quarter" idx="429496729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827795" indent="-31838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273531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782943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292355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801767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311180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820592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4330004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26108828-3D8B-4F87-86E8-FE26FAF8638E}" type="slidenum">
              <a:rPr lang="fr-FR" altLang="fr-FR" smtClean="0">
                <a:solidFill>
                  <a:srgbClr val="003882"/>
                </a:solidFill>
                <a:latin typeface="Arial Narrow" panose="020B0606020202030204" pitchFamily="34" charset="0"/>
              </a:rPr>
              <a:pPr/>
              <a:t>15</a:t>
            </a:fld>
            <a:endParaRPr lang="fr-FR" altLang="fr-FR" smtClean="0">
              <a:solidFill>
                <a:srgbClr val="003882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60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smtClean="0"/>
              <a:t>Communiqués diffusés en 2020</a:t>
            </a:r>
          </a:p>
        </p:txBody>
      </p:sp>
      <p:sp>
        <p:nvSpPr>
          <p:cNvPr id="38915" name="Espace réservé du contenu 2"/>
          <p:cNvSpPr>
            <a:spLocks noGrp="1"/>
          </p:cNvSpPr>
          <p:nvPr>
            <p:ph idx="1"/>
          </p:nvPr>
        </p:nvSpPr>
        <p:spPr>
          <a:xfrm>
            <a:off x="538616" y="1230349"/>
            <a:ext cx="9111346" cy="5670112"/>
          </a:xfrm>
        </p:spPr>
        <p:txBody>
          <a:bodyPr/>
          <a:lstStyle/>
          <a:p>
            <a:r>
              <a:rPr lang="fr-FR" altLang="fr-FR" dirty="0" err="1"/>
              <a:t>Hypervision</a:t>
            </a:r>
            <a:r>
              <a:rPr lang="fr-FR" altLang="fr-FR" dirty="0"/>
              <a:t>, au cœur du </a:t>
            </a:r>
            <a:r>
              <a:rPr lang="fr-FR" altLang="fr-FR" dirty="0" err="1"/>
              <a:t>Big</a:t>
            </a:r>
            <a:r>
              <a:rPr lang="fr-FR" altLang="fr-FR" dirty="0"/>
              <a:t> data de la protection sociale – communiqué de presse  avec un « Essentiel en synthèse »</a:t>
            </a:r>
          </a:p>
          <a:p>
            <a:r>
              <a:rPr lang="fr-FR" altLang="fr-FR" dirty="0" smtClean="0"/>
              <a:t>Club </a:t>
            </a:r>
            <a:r>
              <a:rPr lang="fr-FR" altLang="fr-FR" dirty="0"/>
              <a:t>des pilotes DSN Fonction publique, une édition en ligne réussie</a:t>
            </a:r>
          </a:p>
          <a:p>
            <a:r>
              <a:rPr lang="fr-FR" altLang="fr-FR" dirty="0" err="1" smtClean="0"/>
              <a:t>Net-entreprises</a:t>
            </a:r>
            <a:r>
              <a:rPr lang="fr-FR" altLang="fr-FR" dirty="0" smtClean="0"/>
              <a:t> </a:t>
            </a:r>
            <a:r>
              <a:rPr lang="fr-FR" altLang="fr-FR" dirty="0"/>
              <a:t>évolue et facilite le parcours utilisateur</a:t>
            </a:r>
          </a:p>
          <a:p>
            <a:r>
              <a:rPr lang="fr-FR" altLang="fr-FR" dirty="0" smtClean="0"/>
              <a:t>Des </a:t>
            </a:r>
            <a:r>
              <a:rPr lang="fr-FR" altLang="fr-FR" dirty="0"/>
              <a:t>nouveautés </a:t>
            </a:r>
            <a:r>
              <a:rPr lang="fr-FR" altLang="fr-FR" dirty="0" err="1"/>
              <a:t>Net-entreprises</a:t>
            </a:r>
            <a:r>
              <a:rPr lang="fr-FR" altLang="fr-FR" dirty="0"/>
              <a:t> pour appuyer le rôle de conseil des Experts-Comptables</a:t>
            </a:r>
          </a:p>
          <a:p>
            <a:r>
              <a:rPr lang="fr-FR" altLang="fr-FR" dirty="0" smtClean="0"/>
              <a:t>La </a:t>
            </a:r>
            <a:r>
              <a:rPr lang="fr-FR" altLang="fr-FR" dirty="0"/>
              <a:t>notification dématérialisée du taux AT/MP obligatoire pour les entreprises d’au moins 10 salariés</a:t>
            </a:r>
          </a:p>
          <a:p>
            <a:r>
              <a:rPr lang="fr-FR" altLang="fr-FR" dirty="0" smtClean="0"/>
              <a:t>Toute </a:t>
            </a:r>
            <a:r>
              <a:rPr lang="fr-FR" altLang="fr-FR" dirty="0"/>
              <a:t>la Fonction publique en DSN : M – 5 mois pour se préparer</a:t>
            </a:r>
          </a:p>
          <a:p>
            <a:r>
              <a:rPr lang="fr-FR" altLang="fr-FR" dirty="0" smtClean="0"/>
              <a:t>Le </a:t>
            </a:r>
            <a:r>
              <a:rPr lang="fr-FR" altLang="fr-FR" dirty="0"/>
              <a:t>mandat d’Éric Hayat à la Présidence du GIP-MDS prorogé</a:t>
            </a:r>
            <a:endParaRPr lang="fr-FR" altLang="fr-FR" dirty="0" smtClean="0"/>
          </a:p>
        </p:txBody>
      </p:sp>
      <p:sp>
        <p:nvSpPr>
          <p:cNvPr id="38916" name="Espace réservé du numéro de diapositive 3"/>
          <p:cNvSpPr>
            <a:spLocks noGrp="1"/>
          </p:cNvSpPr>
          <p:nvPr>
            <p:ph type="sldNum" sz="quarter" idx="429496729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827795" indent="-31838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273531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782943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292355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801767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311180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820592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4330004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47595BF7-472A-4FA4-B34B-272BC4A6927E}" type="slidenum">
              <a:rPr lang="fr-FR" altLang="fr-FR" smtClean="0">
                <a:solidFill>
                  <a:srgbClr val="003882"/>
                </a:solidFill>
                <a:latin typeface="Arial Narrow" panose="020B0606020202030204" pitchFamily="34" charset="0"/>
              </a:rPr>
              <a:pPr/>
              <a:t>16</a:t>
            </a:fld>
            <a:endParaRPr lang="fr-FR" altLang="fr-FR" smtClean="0">
              <a:solidFill>
                <a:srgbClr val="003882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2383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smtClean="0"/>
              <a:t>Focus DSN Fonction publiqu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03178" y="1101437"/>
            <a:ext cx="9111345" cy="6146256"/>
          </a:xfrm>
        </p:spPr>
        <p:txBody>
          <a:bodyPr/>
          <a:lstStyle/>
          <a:p>
            <a:pPr marL="0" indent="0" algn="just">
              <a:buNone/>
              <a:defRPr/>
            </a:pPr>
            <a:r>
              <a:rPr lang="fr-FR" sz="2006" dirty="0"/>
              <a:t>A la demande du COMOP DSN Fonction Publique, le GIP-MDS a coordonné la communication de la DSN Fonction Publique à compter du second semestre 2019.</a:t>
            </a:r>
          </a:p>
          <a:p>
            <a:pPr marL="0" indent="0" algn="just">
              <a:buNone/>
              <a:defRPr/>
            </a:pPr>
            <a:r>
              <a:rPr lang="fr-FR" sz="2674" dirty="0" smtClean="0"/>
              <a:t>Actions </a:t>
            </a:r>
            <a:r>
              <a:rPr lang="fr-FR" sz="2674" dirty="0"/>
              <a:t>RP menées :</a:t>
            </a:r>
          </a:p>
          <a:p>
            <a:pPr algn="just">
              <a:defRPr/>
            </a:pPr>
            <a:r>
              <a:rPr lang="fr-FR" dirty="0" smtClean="0"/>
              <a:t>4 </a:t>
            </a:r>
            <a:r>
              <a:rPr lang="fr-FR" dirty="0"/>
              <a:t>communiqués</a:t>
            </a:r>
          </a:p>
          <a:p>
            <a:pPr algn="just">
              <a:defRPr/>
            </a:pPr>
            <a:r>
              <a:rPr lang="fr-FR" dirty="0" smtClean="0"/>
              <a:t>Un </a:t>
            </a:r>
            <a:r>
              <a:rPr lang="fr-FR" dirty="0"/>
              <a:t>dossier de presse dédié</a:t>
            </a:r>
          </a:p>
          <a:p>
            <a:pPr algn="just">
              <a:defRPr/>
            </a:pPr>
            <a:r>
              <a:rPr lang="fr-FR" dirty="0" smtClean="0"/>
              <a:t>Deux </a:t>
            </a:r>
            <a:r>
              <a:rPr lang="fr-FR" dirty="0"/>
              <a:t>infographies : le calendrier des échéances et un mode d’emploi pour passer à la DSN</a:t>
            </a:r>
          </a:p>
          <a:p>
            <a:pPr algn="just">
              <a:defRPr/>
            </a:pPr>
            <a:r>
              <a:rPr lang="fr-FR" dirty="0" smtClean="0"/>
              <a:t>Cinq </a:t>
            </a:r>
            <a:r>
              <a:rPr lang="fr-FR" dirty="0"/>
              <a:t>vidéos pédagogiques</a:t>
            </a:r>
          </a:p>
          <a:p>
            <a:pPr algn="just">
              <a:defRPr/>
            </a:pPr>
            <a:r>
              <a:rPr lang="fr-FR" dirty="0" smtClean="0"/>
              <a:t>Le </a:t>
            </a:r>
            <a:r>
              <a:rPr lang="fr-FR" dirty="0"/>
              <a:t>t</a:t>
            </a:r>
            <a:r>
              <a:rPr lang="fr-FR" dirty="0">
                <a:ea typeface="+mn-lt"/>
                <a:cs typeface="+mn-lt"/>
              </a:rPr>
              <a:t>émoignage vidéo du CDG du Loiret</a:t>
            </a:r>
          </a:p>
          <a:p>
            <a:pPr algn="just">
              <a:defRPr/>
            </a:pPr>
            <a:r>
              <a:rPr lang="fr-FR" dirty="0" smtClean="0"/>
              <a:t>Une </a:t>
            </a:r>
            <a:r>
              <a:rPr lang="fr-FR" dirty="0"/>
              <a:t>playlist dédiée DSN Fonction publique sur la chaîne </a:t>
            </a:r>
            <a:r>
              <a:rPr lang="fr-FR" dirty="0" err="1"/>
              <a:t>youtube</a:t>
            </a:r>
            <a:r>
              <a:rPr lang="fr-FR" dirty="0"/>
              <a:t> du GIP-MDS rassemblant vidéos pédagogiques, témoignages et webinaires</a:t>
            </a:r>
            <a:endParaRPr lang="fr-FR" sz="891" dirty="0"/>
          </a:p>
          <a:p>
            <a:pPr algn="just">
              <a:defRPr/>
            </a:pPr>
            <a:endParaRPr lang="fr-FR" sz="891" dirty="0">
              <a:ea typeface="+mn-lt"/>
              <a:cs typeface="+mn-lt"/>
            </a:endParaRPr>
          </a:p>
          <a:p>
            <a:pPr lvl="1" algn="just">
              <a:defRPr/>
            </a:pPr>
            <a:endParaRPr lang="fr-FR" sz="2228" dirty="0"/>
          </a:p>
          <a:p>
            <a:pPr>
              <a:defRPr/>
            </a:pPr>
            <a:endParaRPr lang="fr-FR" dirty="0"/>
          </a:p>
        </p:txBody>
      </p:sp>
      <p:sp>
        <p:nvSpPr>
          <p:cNvPr id="39940" name="Espace réservé du numéro de diapositive 3"/>
          <p:cNvSpPr>
            <a:spLocks noGrp="1"/>
          </p:cNvSpPr>
          <p:nvPr>
            <p:ph type="sldNum" sz="quarter" idx="429496729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827795" indent="-31838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273531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782943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292355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801767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311180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820592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4330004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E86EB70B-4CF1-4E5D-9605-B79DD3C96A51}" type="slidenum">
              <a:rPr lang="fr-FR" altLang="fr-FR" smtClean="0">
                <a:solidFill>
                  <a:srgbClr val="003882"/>
                </a:solidFill>
                <a:latin typeface="Arial Narrow" panose="020B0606020202030204" pitchFamily="34" charset="0"/>
              </a:rPr>
              <a:pPr/>
              <a:t>17</a:t>
            </a:fld>
            <a:endParaRPr lang="fr-FR" altLang="fr-FR" smtClean="0">
              <a:solidFill>
                <a:srgbClr val="003882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7309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smtClean="0"/>
              <a:t>Focus DSN Fonction publiqu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03178" y="1101437"/>
            <a:ext cx="9111345" cy="6146256"/>
          </a:xfrm>
        </p:spPr>
        <p:txBody>
          <a:bodyPr/>
          <a:lstStyle/>
          <a:p>
            <a:pPr algn="just">
              <a:defRPr/>
            </a:pPr>
            <a:endParaRPr lang="fr-FR" sz="891" dirty="0">
              <a:ea typeface="+mn-lt"/>
              <a:cs typeface="+mn-lt"/>
            </a:endParaRPr>
          </a:p>
          <a:p>
            <a:pPr lvl="1" algn="just">
              <a:defRPr/>
            </a:pPr>
            <a:endParaRPr lang="fr-FR" sz="2228" dirty="0"/>
          </a:p>
          <a:p>
            <a:pPr>
              <a:defRPr/>
            </a:pPr>
            <a:endParaRPr lang="fr-FR" dirty="0"/>
          </a:p>
        </p:txBody>
      </p:sp>
      <p:sp>
        <p:nvSpPr>
          <p:cNvPr id="39940" name="Espace réservé du numéro de diapositive 3"/>
          <p:cNvSpPr>
            <a:spLocks noGrp="1"/>
          </p:cNvSpPr>
          <p:nvPr>
            <p:ph type="sldNum" sz="quarter" idx="429496729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827795" indent="-31838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273531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782943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292355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801767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311180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820592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4330004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E86EB70B-4CF1-4E5D-9605-B79DD3C96A51}" type="slidenum">
              <a:rPr lang="fr-FR" altLang="fr-FR" smtClean="0">
                <a:solidFill>
                  <a:srgbClr val="003882"/>
                </a:solidFill>
                <a:latin typeface="Arial Narrow" panose="020B0606020202030204" pitchFamily="34" charset="0"/>
              </a:rPr>
              <a:pPr/>
              <a:t>18</a:t>
            </a:fld>
            <a:endParaRPr lang="fr-FR" altLang="fr-FR" smtClean="0">
              <a:solidFill>
                <a:srgbClr val="003882"/>
              </a:solidFill>
              <a:latin typeface="Arial Narrow" panose="020B0606020202030204" pitchFamily="34" charset="0"/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1400" y="874193"/>
            <a:ext cx="2363561" cy="3228929"/>
          </a:xfrm>
          <a:prstGeom prst="rect">
            <a:avLst/>
          </a:prstGeom>
        </p:spPr>
      </p:pic>
      <p:pic>
        <p:nvPicPr>
          <p:cNvPr id="7" name="Image 6"/>
          <p:cNvPicPr/>
          <p:nvPr/>
        </p:nvPicPr>
        <p:blipFill rotWithShape="1">
          <a:blip r:embed="rId3"/>
          <a:srcRect l="53405" t="49935" r="26966" b="14481"/>
          <a:stretch/>
        </p:blipFill>
        <p:spPr bwMode="auto">
          <a:xfrm>
            <a:off x="603178" y="874193"/>
            <a:ext cx="3627032" cy="366218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384" y="4618212"/>
            <a:ext cx="3958004" cy="2547644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7471" y="874193"/>
            <a:ext cx="2472276" cy="3228929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1290" y="4447204"/>
            <a:ext cx="3881891" cy="2512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741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smtClean="0"/>
              <a:t>Focus DSN Fonction publiqu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03178" y="1101437"/>
            <a:ext cx="9111345" cy="6146256"/>
          </a:xfrm>
        </p:spPr>
        <p:txBody>
          <a:bodyPr/>
          <a:lstStyle/>
          <a:p>
            <a:pPr algn="just">
              <a:defRPr/>
            </a:pPr>
            <a:endParaRPr lang="fr-FR" sz="891" dirty="0">
              <a:ea typeface="+mn-lt"/>
              <a:cs typeface="+mn-lt"/>
            </a:endParaRPr>
          </a:p>
          <a:p>
            <a:pPr lvl="1" algn="just">
              <a:defRPr/>
            </a:pPr>
            <a:endParaRPr lang="fr-FR" sz="2228" dirty="0"/>
          </a:p>
          <a:p>
            <a:pPr>
              <a:defRPr/>
            </a:pPr>
            <a:endParaRPr lang="fr-FR" dirty="0"/>
          </a:p>
        </p:txBody>
      </p:sp>
      <p:sp>
        <p:nvSpPr>
          <p:cNvPr id="39940" name="Espace réservé du numéro de diapositive 3"/>
          <p:cNvSpPr>
            <a:spLocks noGrp="1"/>
          </p:cNvSpPr>
          <p:nvPr>
            <p:ph type="sldNum" sz="quarter" idx="429496729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827795" indent="-31838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273531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782943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292355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801767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311180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820592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4330004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E86EB70B-4CF1-4E5D-9605-B79DD3C96A51}" type="slidenum">
              <a:rPr lang="fr-FR" altLang="fr-FR" smtClean="0">
                <a:solidFill>
                  <a:srgbClr val="003882"/>
                </a:solidFill>
                <a:latin typeface="Arial Narrow" panose="020B0606020202030204" pitchFamily="34" charset="0"/>
              </a:rPr>
              <a:pPr/>
              <a:t>19</a:t>
            </a:fld>
            <a:endParaRPr lang="fr-FR" altLang="fr-FR" smtClean="0">
              <a:solidFill>
                <a:srgbClr val="003882"/>
              </a:solidFill>
              <a:latin typeface="Arial Narrow" panose="020B0606020202030204" pitchFamily="34" charset="0"/>
            </a:endParaRPr>
          </a:p>
        </p:txBody>
      </p:sp>
      <p:pic>
        <p:nvPicPr>
          <p:cNvPr id="55297" name="Imag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44" t="21042" r="46587" b="7021"/>
          <a:stretch>
            <a:fillRect/>
          </a:stretch>
        </p:blipFill>
        <p:spPr bwMode="auto">
          <a:xfrm>
            <a:off x="220222" y="1101437"/>
            <a:ext cx="3359087" cy="4337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298" name="Imag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71" t="19093" r="46143" b="7007"/>
          <a:stretch>
            <a:fillRect/>
          </a:stretch>
        </p:blipFill>
        <p:spPr bwMode="auto">
          <a:xfrm>
            <a:off x="6769047" y="1300678"/>
            <a:ext cx="3328432" cy="4422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299" name="Imag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52" t="18932" r="48160" b="19553"/>
          <a:stretch>
            <a:fillRect/>
          </a:stretch>
        </p:blipFill>
        <p:spPr bwMode="auto">
          <a:xfrm>
            <a:off x="3575778" y="2811909"/>
            <a:ext cx="3287896" cy="4077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4"/>
          <p:cNvSpPr>
            <a:spLocks noChangeArrowheads="1"/>
          </p:cNvSpPr>
          <p:nvPr/>
        </p:nvSpPr>
        <p:spPr bwMode="auto">
          <a:xfrm>
            <a:off x="0" y="0"/>
            <a:ext cx="101885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fr-FR"/>
          </a:p>
        </p:txBody>
      </p:sp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0" y="457200"/>
            <a:ext cx="101885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fr-FR"/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0" y="3251200"/>
            <a:ext cx="101885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8575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Espace réservé du numéro de diapositive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C0917702-3B4E-4EE9-B9E8-F83C071DA5C9}" type="slidenum">
              <a:rPr lang="fr-FR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pPr/>
              <a:t>2</a:t>
            </a:fld>
            <a:endParaRPr lang="fr-FR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8851" name="Image 4" descr="LOGO_DSN_diapo_RVB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0845" y="5873296"/>
            <a:ext cx="1363784" cy="1491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4"/>
          <p:cNvSpPr txBox="1">
            <a:spLocks noChangeArrowheads="1"/>
          </p:cNvSpPr>
          <p:nvPr/>
        </p:nvSpPr>
        <p:spPr bwMode="auto">
          <a:xfrm>
            <a:off x="275940" y="945573"/>
            <a:ext cx="9636694" cy="6161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2475" tIns="51237" rIns="102475" bIns="51237"/>
          <a:lstStyle/>
          <a:p>
            <a:pPr algn="ctr"/>
            <a:r>
              <a:rPr lang="fr-FR" sz="2400" b="1" dirty="0" smtClean="0"/>
              <a:t>Ordre </a:t>
            </a:r>
            <a:r>
              <a:rPr lang="fr-FR" sz="2400" b="1" dirty="0"/>
              <a:t>du jour du Groupe </a:t>
            </a:r>
            <a:r>
              <a:rPr lang="fr-FR" sz="2400" b="1" dirty="0" smtClean="0"/>
              <a:t>Communication du 17 décembre</a:t>
            </a:r>
          </a:p>
          <a:p>
            <a:endParaRPr lang="fr-FR" sz="1600" dirty="0"/>
          </a:p>
          <a:p>
            <a:pPr marL="382059" lvl="0" indent="-382059" eaLnBrk="0" fontAlgn="base" hangingPunct="0">
              <a:lnSpc>
                <a:spcPct val="90000"/>
              </a:lnSpc>
              <a:spcBef>
                <a:spcPct val="75000"/>
              </a:spcBef>
              <a:spcAft>
                <a:spcPct val="0"/>
              </a:spcAft>
              <a:buSzPct val="125000"/>
              <a:buBlip>
                <a:blip r:embed="rId4"/>
              </a:buBlip>
            </a:pPr>
            <a:r>
              <a:rPr lang="fr-FR" sz="2000" b="1" dirty="0"/>
              <a:t>Actualité d’ensemble GIP MDS </a:t>
            </a:r>
            <a:r>
              <a:rPr lang="fr-FR" sz="2000" b="1" dirty="0" smtClean="0"/>
              <a:t>: </a:t>
            </a:r>
            <a:r>
              <a:rPr lang="fr-FR" sz="2000" b="1" dirty="0" err="1"/>
              <a:t>net-entreprises</a:t>
            </a:r>
            <a:r>
              <a:rPr lang="fr-FR" sz="2000" b="1" dirty="0"/>
              <a:t>, DSN, net-CRM, PASRAU, crise COVID</a:t>
            </a:r>
          </a:p>
          <a:p>
            <a:pPr marL="382059" lvl="0" indent="-382059" eaLnBrk="0" fontAlgn="base" hangingPunct="0">
              <a:lnSpc>
                <a:spcPct val="90000"/>
              </a:lnSpc>
              <a:spcBef>
                <a:spcPct val="75000"/>
              </a:spcBef>
              <a:spcAft>
                <a:spcPct val="0"/>
              </a:spcAft>
              <a:buSzPct val="125000"/>
              <a:buBlip>
                <a:blip r:embed="rId4"/>
              </a:buBlip>
            </a:pPr>
            <a:r>
              <a:rPr lang="fr-FR" sz="2000" b="1" dirty="0"/>
              <a:t>Bilan des campagnes de push-mail face à la crise et pour répondre aux demandes des </a:t>
            </a:r>
            <a:r>
              <a:rPr lang="fr-FR" sz="2000" b="1" dirty="0" smtClean="0"/>
              <a:t>membres</a:t>
            </a:r>
          </a:p>
          <a:p>
            <a:pPr marL="382059" indent="-382059" eaLnBrk="0" fontAlgn="base" hangingPunct="0">
              <a:lnSpc>
                <a:spcPct val="90000"/>
              </a:lnSpc>
              <a:spcBef>
                <a:spcPct val="75000"/>
              </a:spcBef>
              <a:spcAft>
                <a:spcPct val="0"/>
              </a:spcAft>
              <a:buSzPct val="125000"/>
              <a:buBlip>
                <a:blip r:embed="rId4"/>
              </a:buBlip>
            </a:pPr>
            <a:r>
              <a:rPr lang="fr-FR" sz="2000" b="1" dirty="0"/>
              <a:t>Point sur les relations presse du GIP-MDS </a:t>
            </a:r>
          </a:p>
          <a:p>
            <a:pPr marL="382059" lvl="0" indent="-382059" eaLnBrk="0" fontAlgn="base" hangingPunct="0">
              <a:lnSpc>
                <a:spcPct val="90000"/>
              </a:lnSpc>
              <a:spcBef>
                <a:spcPct val="75000"/>
              </a:spcBef>
              <a:spcAft>
                <a:spcPct val="0"/>
              </a:spcAft>
              <a:buSzPct val="125000"/>
              <a:buBlip>
                <a:blip r:embed="rId4"/>
              </a:buBlip>
            </a:pPr>
            <a:r>
              <a:rPr lang="fr-FR" sz="2000" b="1" dirty="0" smtClean="0"/>
              <a:t>Révision </a:t>
            </a:r>
            <a:r>
              <a:rPr lang="fr-FR" sz="2000" b="1" dirty="0"/>
              <a:t>de l’affichage de </a:t>
            </a:r>
            <a:r>
              <a:rPr lang="fr-FR" sz="2000" b="1" dirty="0" err="1"/>
              <a:t>net-entreprises</a:t>
            </a:r>
            <a:r>
              <a:rPr lang="fr-FR" sz="2000" b="1" dirty="0"/>
              <a:t>, nom de code du projet : « REVA »</a:t>
            </a:r>
          </a:p>
          <a:p>
            <a:pPr marL="382059" lvl="0" indent="-382059" eaLnBrk="0" fontAlgn="base" hangingPunct="0">
              <a:lnSpc>
                <a:spcPct val="90000"/>
              </a:lnSpc>
              <a:spcBef>
                <a:spcPct val="75000"/>
              </a:spcBef>
              <a:spcAft>
                <a:spcPct val="0"/>
              </a:spcAft>
              <a:buSzPct val="125000"/>
              <a:buBlip>
                <a:blip r:embed="rId4"/>
              </a:buBlip>
            </a:pPr>
            <a:r>
              <a:rPr lang="fr-FR" sz="2000" b="1" dirty="0"/>
              <a:t>La présence des membres du GIP-MDS sur les réseaux </a:t>
            </a:r>
            <a:r>
              <a:rPr lang="fr-FR" sz="2000" b="1" dirty="0" smtClean="0"/>
              <a:t>sociaux</a:t>
            </a:r>
            <a:endParaRPr lang="fr-FR" sz="2000" b="1" dirty="0"/>
          </a:p>
          <a:p>
            <a:pPr marL="382059" lvl="0" indent="-382059" eaLnBrk="0" fontAlgn="base" hangingPunct="0">
              <a:lnSpc>
                <a:spcPct val="90000"/>
              </a:lnSpc>
              <a:spcBef>
                <a:spcPct val="75000"/>
              </a:spcBef>
              <a:spcAft>
                <a:spcPct val="0"/>
              </a:spcAft>
              <a:buSzPct val="125000"/>
              <a:buBlip>
                <a:blip r:embed="rId4"/>
              </a:buBlip>
            </a:pPr>
            <a:r>
              <a:rPr lang="fr-FR" sz="2000" b="1" dirty="0" smtClean="0"/>
              <a:t>Tour </a:t>
            </a:r>
            <a:r>
              <a:rPr lang="fr-FR" sz="2000" b="1" dirty="0"/>
              <a:t>de table </a:t>
            </a:r>
            <a:r>
              <a:rPr lang="fr-FR" sz="2000" b="1" dirty="0" smtClean="0"/>
              <a:t>des </a:t>
            </a:r>
            <a:r>
              <a:rPr lang="fr-FR" sz="2000" b="1" dirty="0"/>
              <a:t>OPS sur leurs actions de communication en cours ou à venir </a:t>
            </a:r>
            <a:r>
              <a:rPr lang="fr-FR" sz="2000" b="1" dirty="0" smtClean="0"/>
              <a:t>et </a:t>
            </a:r>
            <a:r>
              <a:rPr lang="fr-FR" sz="2000" b="1" dirty="0"/>
              <a:t>sujets sur lesquels une communication collective est souhaitée</a:t>
            </a:r>
          </a:p>
          <a:p>
            <a:pPr marL="382059" indent="-382059" eaLnBrk="0" fontAlgn="base" hangingPunct="0">
              <a:lnSpc>
                <a:spcPct val="90000"/>
              </a:lnSpc>
              <a:spcBef>
                <a:spcPct val="75000"/>
              </a:spcBef>
              <a:spcAft>
                <a:spcPct val="0"/>
              </a:spcAft>
              <a:buSzPct val="125000"/>
              <a:buBlip>
                <a:blip r:embed="rId4"/>
              </a:buBlip>
            </a:pPr>
            <a:r>
              <a:rPr lang="fr-FR" sz="2000" b="1" dirty="0"/>
              <a:t>Questions diverses</a:t>
            </a:r>
          </a:p>
          <a:p>
            <a:endParaRPr lang="fr-FR" dirty="0"/>
          </a:p>
        </p:txBody>
      </p:sp>
      <p:pic>
        <p:nvPicPr>
          <p:cNvPr id="5" name="Picture 3" descr="C:\Users\flelogeais\AppData\Local\Microsoft\Windows\Temporary Internet Files\Content.Outlook\I9SEFXJ7\LOGO gip-mds seul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5843" y="223286"/>
            <a:ext cx="1649556" cy="80233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051842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smtClean="0"/>
              <a:t>Focus DSN Fonction publiqu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67098" y="903316"/>
            <a:ext cx="9654382" cy="6314794"/>
          </a:xfrm>
        </p:spPr>
        <p:txBody>
          <a:bodyPr/>
          <a:lstStyle/>
          <a:p>
            <a:pPr marL="0" indent="0" algn="just">
              <a:buNone/>
              <a:defRPr/>
            </a:pPr>
            <a:r>
              <a:rPr lang="fr-FR" sz="2674" dirty="0"/>
              <a:t>Organisations d’interviews avec des médias ciblés </a:t>
            </a:r>
          </a:p>
          <a:p>
            <a:pPr algn="just">
              <a:defRPr/>
            </a:pPr>
            <a:r>
              <a:rPr lang="fr-FR" dirty="0" smtClean="0"/>
              <a:t>Interview </a:t>
            </a:r>
            <a:r>
              <a:rPr lang="fr-FR" dirty="0"/>
              <a:t>croisée avec l’agence de presse AEF proposée à la DGAFP et la CDC</a:t>
            </a:r>
          </a:p>
          <a:p>
            <a:pPr algn="just">
              <a:defRPr/>
            </a:pPr>
            <a:r>
              <a:rPr lang="fr-FR" dirty="0" smtClean="0">
                <a:ea typeface="+mn-lt"/>
                <a:cs typeface="+mn-lt"/>
              </a:rPr>
              <a:t>Des </a:t>
            </a:r>
            <a:r>
              <a:rPr lang="fr-FR" dirty="0">
                <a:ea typeface="+mn-lt"/>
                <a:cs typeface="+mn-lt"/>
              </a:rPr>
              <a:t>interviews organisées avec les presse santé / hospitalière</a:t>
            </a:r>
          </a:p>
          <a:p>
            <a:pPr lvl="1" algn="just">
              <a:defRPr/>
            </a:pPr>
            <a:r>
              <a:rPr lang="fr-FR" sz="2228" dirty="0">
                <a:ea typeface="+mn-lt"/>
                <a:cs typeface="+mn-lt"/>
              </a:rPr>
              <a:t>Des interviews d’Elisabeth </a:t>
            </a:r>
            <a:r>
              <a:rPr lang="fr-FR" sz="2228" dirty="0" smtClean="0">
                <a:ea typeface="+mn-lt"/>
                <a:cs typeface="+mn-lt"/>
              </a:rPr>
              <a:t>Humbert-Bottin dans </a:t>
            </a:r>
            <a:r>
              <a:rPr lang="fr-FR" sz="2228" dirty="0" err="1" smtClean="0">
                <a:ea typeface="+mn-lt"/>
                <a:cs typeface="+mn-lt"/>
              </a:rPr>
              <a:t>Hospimédia</a:t>
            </a:r>
            <a:r>
              <a:rPr lang="fr-FR" sz="2228" dirty="0" smtClean="0">
                <a:ea typeface="+mn-lt"/>
                <a:cs typeface="+mn-lt"/>
              </a:rPr>
              <a:t> et Direction(s</a:t>
            </a:r>
            <a:r>
              <a:rPr lang="fr-FR" sz="2228" dirty="0">
                <a:ea typeface="+mn-lt"/>
                <a:cs typeface="+mn-lt"/>
              </a:rPr>
              <a:t>)</a:t>
            </a:r>
          </a:p>
          <a:p>
            <a:pPr lvl="1">
              <a:defRPr/>
            </a:pPr>
            <a:r>
              <a:rPr lang="fr-FR" sz="2228" dirty="0">
                <a:ea typeface="+mn-lt"/>
                <a:cs typeface="+mn-lt"/>
              </a:rPr>
              <a:t>Rédaction et publication d’articles clés en main :</a:t>
            </a:r>
          </a:p>
          <a:p>
            <a:pPr lvl="2">
              <a:defRPr/>
            </a:pPr>
            <a:r>
              <a:rPr lang="fr-FR" sz="2006" dirty="0"/>
              <a:t>Santé </a:t>
            </a:r>
            <a:r>
              <a:rPr lang="fr-FR" sz="2006" dirty="0" smtClean="0"/>
              <a:t>RH et Gestions </a:t>
            </a:r>
            <a:r>
              <a:rPr lang="fr-FR" sz="2006" dirty="0"/>
              <a:t>Hospitalières, incluant une interview de l’AP-HP</a:t>
            </a:r>
            <a:endParaRPr lang="fr-FR" sz="2228" dirty="0"/>
          </a:p>
          <a:p>
            <a:pPr algn="just">
              <a:defRPr/>
            </a:pPr>
            <a:r>
              <a:rPr lang="fr-FR" dirty="0" smtClean="0">
                <a:ea typeface="+mn-lt"/>
                <a:cs typeface="+mn-lt"/>
              </a:rPr>
              <a:t>Des </a:t>
            </a:r>
            <a:r>
              <a:rPr lang="fr-FR" dirty="0">
                <a:ea typeface="+mn-lt"/>
                <a:cs typeface="+mn-lt"/>
              </a:rPr>
              <a:t>interviews organisées avec </a:t>
            </a:r>
            <a:r>
              <a:rPr lang="fr-FR" dirty="0" smtClean="0">
                <a:ea typeface="+mn-lt"/>
                <a:cs typeface="+mn-lt"/>
              </a:rPr>
              <a:t>la </a:t>
            </a:r>
            <a:r>
              <a:rPr lang="fr-FR" dirty="0">
                <a:ea typeface="+mn-lt"/>
                <a:cs typeface="+mn-lt"/>
              </a:rPr>
              <a:t>presse secteur public</a:t>
            </a:r>
          </a:p>
          <a:p>
            <a:pPr lvl="1" algn="just">
              <a:defRPr/>
            </a:pPr>
            <a:r>
              <a:rPr lang="fr-FR" sz="2228" dirty="0">
                <a:ea typeface="+mn-lt"/>
                <a:cs typeface="+mn-lt"/>
              </a:rPr>
              <a:t>Une interview de Fleur le Logeais et Guillaume </a:t>
            </a:r>
            <a:r>
              <a:rPr lang="fr-FR" sz="2228" dirty="0" err="1">
                <a:ea typeface="+mn-lt"/>
                <a:cs typeface="+mn-lt"/>
              </a:rPr>
              <a:t>Cosneau</a:t>
            </a:r>
            <a:r>
              <a:rPr lang="fr-FR" sz="2228" dirty="0">
                <a:ea typeface="+mn-lt"/>
                <a:cs typeface="+mn-lt"/>
              </a:rPr>
              <a:t> dans La Gazette des communes</a:t>
            </a:r>
          </a:p>
          <a:p>
            <a:pPr lvl="1" algn="just">
              <a:defRPr/>
            </a:pPr>
            <a:r>
              <a:rPr lang="fr-FR" sz="2228" dirty="0">
                <a:ea typeface="+mn-lt"/>
                <a:cs typeface="+mn-lt"/>
              </a:rPr>
              <a:t>Des interviews organisées avec des représentants de collectivités locales </a:t>
            </a:r>
            <a:r>
              <a:rPr lang="fr-FR" sz="2228" dirty="0" smtClean="0">
                <a:ea typeface="+mn-lt"/>
                <a:cs typeface="+mn-lt"/>
              </a:rPr>
              <a:t> : la </a:t>
            </a:r>
            <a:r>
              <a:rPr lang="fr-FR" sz="2228" dirty="0">
                <a:ea typeface="+mn-lt"/>
                <a:cs typeface="+mn-lt"/>
              </a:rPr>
              <a:t>commune de </a:t>
            </a:r>
            <a:r>
              <a:rPr lang="fr-FR" sz="2228" dirty="0" err="1">
                <a:ea typeface="+mn-lt"/>
                <a:cs typeface="+mn-lt"/>
              </a:rPr>
              <a:t>Quétigny</a:t>
            </a:r>
            <a:r>
              <a:rPr lang="fr-FR" sz="2228" dirty="0">
                <a:ea typeface="+mn-lt"/>
                <a:cs typeface="+mn-lt"/>
              </a:rPr>
              <a:t> </a:t>
            </a:r>
            <a:r>
              <a:rPr lang="fr-FR" sz="2228" dirty="0" smtClean="0">
                <a:ea typeface="+mn-lt"/>
                <a:cs typeface="+mn-lt"/>
              </a:rPr>
              <a:t>et le </a:t>
            </a:r>
            <a:r>
              <a:rPr lang="fr-FR" sz="2228" dirty="0">
                <a:ea typeface="+mn-lt"/>
                <a:cs typeface="+mn-lt"/>
              </a:rPr>
              <a:t>CDG du Gers</a:t>
            </a:r>
          </a:p>
          <a:p>
            <a:pPr lvl="1">
              <a:defRPr/>
            </a:pPr>
            <a:endParaRPr lang="fr-FR" sz="2228" dirty="0"/>
          </a:p>
        </p:txBody>
      </p:sp>
      <p:sp>
        <p:nvSpPr>
          <p:cNvPr id="40964" name="Espace réservé du numéro de diapositive 3"/>
          <p:cNvSpPr>
            <a:spLocks noGrp="1"/>
          </p:cNvSpPr>
          <p:nvPr>
            <p:ph type="sldNum" sz="quarter" idx="429496729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827795" indent="-31838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273531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782943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292355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801767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311180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820592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4330004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E4AC2AFC-1A2D-4F0E-9C5C-78057FE67434}" type="slidenum">
              <a:rPr lang="fr-FR" altLang="fr-FR" smtClean="0">
                <a:solidFill>
                  <a:srgbClr val="003882"/>
                </a:solidFill>
                <a:latin typeface="Arial Narrow" panose="020B0606020202030204" pitchFamily="34" charset="0"/>
              </a:rPr>
              <a:pPr/>
              <a:t>20</a:t>
            </a:fld>
            <a:endParaRPr lang="fr-FR" altLang="fr-FR" smtClean="0">
              <a:solidFill>
                <a:srgbClr val="003882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513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dirty="0" smtClean="0"/>
              <a:t>Focus AT/MP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2001" y="1415795"/>
            <a:ext cx="9459809" cy="6035316"/>
          </a:xfrm>
        </p:spPr>
        <p:txBody>
          <a:bodyPr/>
          <a:lstStyle/>
          <a:p>
            <a:pPr marL="0" indent="0" algn="just">
              <a:buNone/>
              <a:defRPr/>
            </a:pPr>
            <a:r>
              <a:rPr lang="fr-FR" sz="2674" dirty="0" smtClean="0"/>
              <a:t>Une </a:t>
            </a:r>
            <a:r>
              <a:rPr lang="fr-FR" sz="2674" dirty="0"/>
              <a:t>communication commune menée avec </a:t>
            </a:r>
          </a:p>
          <a:p>
            <a:pPr marL="0" indent="0" algn="just">
              <a:buNone/>
              <a:defRPr/>
            </a:pPr>
            <a:endParaRPr lang="fr-FR" sz="2674" dirty="0"/>
          </a:p>
          <a:p>
            <a:pPr marL="0" indent="0" algn="just">
              <a:buNone/>
              <a:defRPr/>
            </a:pPr>
            <a:endParaRPr lang="fr-FR" sz="2674" dirty="0"/>
          </a:p>
          <a:p>
            <a:pPr algn="just">
              <a:defRPr/>
            </a:pPr>
            <a:endParaRPr lang="fr-FR" dirty="0" smtClean="0"/>
          </a:p>
          <a:p>
            <a:pPr algn="just">
              <a:defRPr/>
            </a:pPr>
            <a:r>
              <a:rPr lang="fr-FR" dirty="0" smtClean="0"/>
              <a:t>Un </a:t>
            </a:r>
            <a:r>
              <a:rPr lang="fr-FR" dirty="0"/>
              <a:t>communiqué diffusé en septembre et qui continue de générer des articles !</a:t>
            </a:r>
          </a:p>
          <a:p>
            <a:pPr lvl="1" algn="just">
              <a:defRPr/>
            </a:pPr>
            <a:r>
              <a:rPr lang="fr-FR" sz="2228" dirty="0" smtClean="0">
                <a:latin typeface="+mj-lt"/>
              </a:rPr>
              <a:t>La </a:t>
            </a:r>
            <a:r>
              <a:rPr lang="fr-FR" sz="2228" dirty="0">
                <a:latin typeface="+mj-lt"/>
              </a:rPr>
              <a:t>notification dématérialisée du taux AT/MP obligatoire pour les entreprises d’au moins 10 salariés</a:t>
            </a:r>
          </a:p>
          <a:p>
            <a:pPr algn="just">
              <a:defRPr/>
            </a:pPr>
            <a:r>
              <a:rPr lang="fr-FR" dirty="0" smtClean="0"/>
              <a:t>Une </a:t>
            </a:r>
            <a:r>
              <a:rPr lang="fr-FR" dirty="0"/>
              <a:t>trentaines d’articles pertinents publiés à date</a:t>
            </a:r>
          </a:p>
        </p:txBody>
      </p:sp>
      <p:sp>
        <p:nvSpPr>
          <p:cNvPr id="41988" name="Espace réservé du numéro de diapositive 3"/>
          <p:cNvSpPr>
            <a:spLocks noGrp="1"/>
          </p:cNvSpPr>
          <p:nvPr>
            <p:ph type="sldNum" sz="quarter" idx="429496729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827795" indent="-31838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273531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782943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292355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801767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311180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820592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4330004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6B3CE0DF-DD59-4E3C-9F7D-E755EFF523BF}" type="slidenum">
              <a:rPr lang="fr-FR" altLang="fr-FR" smtClean="0">
                <a:solidFill>
                  <a:srgbClr val="003882"/>
                </a:solidFill>
                <a:latin typeface="Arial Narrow" panose="020B0606020202030204" pitchFamily="34" charset="0"/>
              </a:rPr>
              <a:pPr/>
              <a:t>21</a:t>
            </a:fld>
            <a:endParaRPr lang="fr-FR" altLang="fr-FR" smtClean="0">
              <a:solidFill>
                <a:srgbClr val="003882"/>
              </a:solidFill>
              <a:latin typeface="Arial Narrow" panose="020B0606020202030204" pitchFamily="34" charset="0"/>
            </a:endParaRPr>
          </a:p>
        </p:txBody>
      </p:sp>
      <p:pic>
        <p:nvPicPr>
          <p:cNvPr id="41989" name="Imag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54" t="71281" r="34882" b="10770"/>
          <a:stretch>
            <a:fillRect/>
          </a:stretch>
        </p:blipFill>
        <p:spPr bwMode="auto">
          <a:xfrm>
            <a:off x="521812" y="1927035"/>
            <a:ext cx="8867245" cy="156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00105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Espace réservé du numéro de diapositive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C0917702-3B4E-4EE9-B9E8-F83C071DA5C9}" type="slidenum">
              <a:rPr lang="fr-FR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pPr/>
              <a:t>22</a:t>
            </a:fld>
            <a:endParaRPr lang="fr-FR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8851" name="Image 4" descr="LOGO_DSN_diapo_RVB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0845" y="5873296"/>
            <a:ext cx="1363784" cy="1491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4"/>
          <p:cNvSpPr txBox="1">
            <a:spLocks noChangeArrowheads="1"/>
          </p:cNvSpPr>
          <p:nvPr/>
        </p:nvSpPr>
        <p:spPr bwMode="auto">
          <a:xfrm>
            <a:off x="275940" y="1923456"/>
            <a:ext cx="9636694" cy="3595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2475" tIns="51237" rIns="102475" bIns="51237"/>
          <a:lstStyle/>
          <a:p>
            <a:pPr algn="ctr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fr-FR" sz="3565" b="1" kern="0" dirty="0">
              <a:solidFill>
                <a:srgbClr val="00B0E6"/>
              </a:solidFill>
              <a:latin typeface="Calibri" pitchFamily="34" charset="0"/>
            </a:endParaRPr>
          </a:p>
          <a:p>
            <a:pPr algn="ctr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fr-FR" sz="4011" b="1" i="1" kern="0" dirty="0">
              <a:solidFill>
                <a:srgbClr val="00B0E6"/>
              </a:solidFill>
              <a:latin typeface="Calibri" pitchFamily="34" charset="0"/>
            </a:endParaRPr>
          </a:p>
          <a:p>
            <a:pPr marL="382059" lvl="0" indent="-382059" eaLnBrk="0" fontAlgn="base" hangingPunct="0">
              <a:lnSpc>
                <a:spcPct val="90000"/>
              </a:lnSpc>
              <a:spcBef>
                <a:spcPct val="75000"/>
              </a:spcBef>
              <a:spcAft>
                <a:spcPct val="0"/>
              </a:spcAft>
              <a:buSzPct val="125000"/>
              <a:buBlip>
                <a:blip r:embed="rId4"/>
              </a:buBlip>
            </a:pPr>
            <a:r>
              <a:rPr lang="fr-FR" sz="2800" b="1" dirty="0"/>
              <a:t>Révision de l’affichage de </a:t>
            </a:r>
            <a:r>
              <a:rPr lang="fr-FR" sz="2800" b="1" dirty="0" err="1"/>
              <a:t>net-entreprises</a:t>
            </a:r>
            <a:r>
              <a:rPr lang="fr-FR" sz="2800" b="1" dirty="0"/>
              <a:t>, nom de code du projet : « REVA »</a:t>
            </a:r>
          </a:p>
        </p:txBody>
      </p:sp>
      <p:pic>
        <p:nvPicPr>
          <p:cNvPr id="5" name="Picture 3" descr="C:\Users\flelogeais\AppData\Local\Microsoft\Windows\Temporary Internet Files\Content.Outlook\I9SEFXJ7\LOGO gip-mds seul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5843" y="223286"/>
            <a:ext cx="1649556" cy="80233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1604404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Espace réservé du numéro de diapositive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C0917702-3B4E-4EE9-B9E8-F83C071DA5C9}" type="slidenum">
              <a:rPr lang="fr-FR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pPr/>
              <a:t>23</a:t>
            </a:fld>
            <a:endParaRPr lang="fr-FR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8851" name="Image 4" descr="LOGO_DSN_diapo_RVB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0845" y="5873296"/>
            <a:ext cx="1363784" cy="1491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4"/>
          <p:cNvSpPr txBox="1">
            <a:spLocks noChangeArrowheads="1"/>
          </p:cNvSpPr>
          <p:nvPr/>
        </p:nvSpPr>
        <p:spPr bwMode="auto">
          <a:xfrm>
            <a:off x="275940" y="1923456"/>
            <a:ext cx="9636694" cy="3595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2475" tIns="51237" rIns="102475" bIns="51237"/>
          <a:lstStyle/>
          <a:p>
            <a:pPr algn="ctr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fr-FR" sz="3565" b="1" kern="0" dirty="0">
              <a:solidFill>
                <a:srgbClr val="00B0E6"/>
              </a:solidFill>
              <a:latin typeface="Calibri" pitchFamily="34" charset="0"/>
            </a:endParaRPr>
          </a:p>
          <a:p>
            <a:pPr algn="ctr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fr-FR" sz="4011" b="1" i="1" kern="0" dirty="0">
              <a:solidFill>
                <a:srgbClr val="00B0E6"/>
              </a:solidFill>
              <a:latin typeface="Calibri" pitchFamily="34" charset="0"/>
            </a:endParaRPr>
          </a:p>
          <a:p>
            <a:pPr marL="382059" lvl="0" indent="-382059" eaLnBrk="0" fontAlgn="base" hangingPunct="0">
              <a:lnSpc>
                <a:spcPct val="90000"/>
              </a:lnSpc>
              <a:spcBef>
                <a:spcPct val="75000"/>
              </a:spcBef>
              <a:spcAft>
                <a:spcPct val="0"/>
              </a:spcAft>
              <a:buSzPct val="125000"/>
              <a:buBlip>
                <a:blip r:embed="rId4"/>
              </a:buBlip>
            </a:pPr>
            <a:r>
              <a:rPr lang="fr-FR" sz="2800" b="1" dirty="0"/>
              <a:t>La présence des membres du GIP-MDS </a:t>
            </a:r>
            <a:r>
              <a:rPr lang="fr-FR" sz="2800" b="1" dirty="0" smtClean="0"/>
              <a:t>sur </a:t>
            </a:r>
            <a:r>
              <a:rPr lang="fr-FR" sz="2800" b="1" dirty="0"/>
              <a:t>les réseaux sociaux</a:t>
            </a:r>
          </a:p>
        </p:txBody>
      </p:sp>
      <p:pic>
        <p:nvPicPr>
          <p:cNvPr id="5" name="Picture 3" descr="C:\Users\flelogeais\AppData\Local\Microsoft\Windows\Temporary Internet Files\Content.Outlook\I9SEFXJ7\LOGO gip-mds seul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5843" y="223286"/>
            <a:ext cx="1649556" cy="80233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1298929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smtClean="0"/>
              <a:t>Questions réseaux sociaux</a:t>
            </a:r>
          </a:p>
        </p:txBody>
      </p:sp>
      <p:sp>
        <p:nvSpPr>
          <p:cNvPr id="43011" name="Espace réservé du contenu 2"/>
          <p:cNvSpPr>
            <a:spLocks noGrp="1"/>
          </p:cNvSpPr>
          <p:nvPr>
            <p:ph idx="1"/>
          </p:nvPr>
        </p:nvSpPr>
        <p:spPr>
          <a:xfrm>
            <a:off x="700465" y="1497162"/>
            <a:ext cx="9111346" cy="6157366"/>
          </a:xfrm>
        </p:spPr>
        <p:txBody>
          <a:bodyPr/>
          <a:lstStyle/>
          <a:p>
            <a:r>
              <a:rPr lang="fr-FR" altLang="fr-FR" dirty="0" smtClean="0"/>
              <a:t>Présence sur quels réseaux ?</a:t>
            </a:r>
          </a:p>
          <a:p>
            <a:r>
              <a:rPr lang="fr-FR" altLang="fr-FR" dirty="0" smtClean="0"/>
              <a:t>Quelle organisation?</a:t>
            </a:r>
          </a:p>
          <a:p>
            <a:r>
              <a:rPr lang="fr-FR" altLang="fr-FR" dirty="0" smtClean="0"/>
              <a:t>Nombres d’abonnés ou de contacts? </a:t>
            </a:r>
          </a:p>
          <a:p>
            <a:r>
              <a:rPr lang="fr-FR" altLang="fr-FR" dirty="0" smtClean="0"/>
              <a:t>Quelle fréquence de publication ? </a:t>
            </a:r>
          </a:p>
          <a:p>
            <a:r>
              <a:rPr lang="fr-FR" altLang="fr-FR" dirty="0" smtClean="0"/>
              <a:t>Quels contenus ? propriétaires ? Ou bien retweet ou </a:t>
            </a:r>
            <a:r>
              <a:rPr lang="fr-FR" altLang="fr-FR" dirty="0" err="1" smtClean="0"/>
              <a:t>likes</a:t>
            </a:r>
            <a:r>
              <a:rPr lang="fr-FR" altLang="fr-FR" dirty="0" smtClean="0"/>
              <a:t> sur des sujets plus larges ?</a:t>
            </a:r>
          </a:p>
          <a:p>
            <a:r>
              <a:rPr lang="fr-FR" dirty="0" smtClean="0"/>
              <a:t>Quelle évaluation?</a:t>
            </a:r>
          </a:p>
          <a:p>
            <a:r>
              <a:rPr lang="fr-FR" dirty="0" smtClean="0"/>
              <a:t>Quelles </a:t>
            </a:r>
            <a:r>
              <a:rPr lang="fr-FR" dirty="0"/>
              <a:t>réactions en situation de gestion de crise ? </a:t>
            </a:r>
            <a:endParaRPr lang="fr-FR" altLang="fr-FR" dirty="0" smtClean="0"/>
          </a:p>
          <a:p>
            <a:r>
              <a:rPr lang="fr-FR" altLang="fr-FR" dirty="0" smtClean="0"/>
              <a:t>…</a:t>
            </a:r>
          </a:p>
        </p:txBody>
      </p:sp>
      <p:sp>
        <p:nvSpPr>
          <p:cNvPr id="43012" name="Espace réservé du numéro de diapositive 3"/>
          <p:cNvSpPr>
            <a:spLocks noGrp="1"/>
          </p:cNvSpPr>
          <p:nvPr>
            <p:ph type="sldNum" sz="quarter" idx="429496729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827795" indent="-31838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273531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782943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292355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801767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311180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820592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4330004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480A4278-DF33-41FD-AF1D-AC2272DA354F}" type="slidenum">
              <a:rPr lang="fr-FR" altLang="fr-FR" smtClean="0">
                <a:solidFill>
                  <a:srgbClr val="003882"/>
                </a:solidFill>
                <a:latin typeface="Arial Narrow" panose="020B0606020202030204" pitchFamily="34" charset="0"/>
              </a:rPr>
              <a:pPr/>
              <a:t>24</a:t>
            </a:fld>
            <a:endParaRPr lang="fr-FR" altLang="fr-FR" smtClean="0">
              <a:solidFill>
                <a:srgbClr val="003882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855930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dirty="0" smtClean="0"/>
              <a:t>Sujets de communication à venir</a:t>
            </a:r>
          </a:p>
        </p:txBody>
      </p:sp>
      <p:sp>
        <p:nvSpPr>
          <p:cNvPr id="44035" name="Espace réservé du contenu 2"/>
          <p:cNvSpPr>
            <a:spLocks noGrp="1"/>
          </p:cNvSpPr>
          <p:nvPr>
            <p:ph idx="1"/>
          </p:nvPr>
        </p:nvSpPr>
        <p:spPr>
          <a:xfrm>
            <a:off x="521812" y="1216411"/>
            <a:ext cx="8688590" cy="3126989"/>
          </a:xfrm>
        </p:spPr>
        <p:txBody>
          <a:bodyPr/>
          <a:lstStyle/>
          <a:p>
            <a:endParaRPr lang="fr-FR" altLang="fr-FR" dirty="0" smtClean="0"/>
          </a:p>
          <a:p>
            <a:endParaRPr lang="fr-FR" altLang="fr-FR" dirty="0"/>
          </a:p>
          <a:p>
            <a:r>
              <a:rPr lang="fr-FR" altLang="fr-FR" dirty="0" smtClean="0"/>
              <a:t>Quels sujets communs en 2021 ?</a:t>
            </a:r>
          </a:p>
        </p:txBody>
      </p:sp>
      <p:sp>
        <p:nvSpPr>
          <p:cNvPr id="44036" name="Espace réservé du numéro de diapositive 3"/>
          <p:cNvSpPr>
            <a:spLocks noGrp="1"/>
          </p:cNvSpPr>
          <p:nvPr>
            <p:ph type="sldNum" sz="quarter" idx="429496729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827795" indent="-31838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273531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782943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292355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801767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311180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820592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4330004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238CE619-B6CE-4E06-8EF5-CA456E7B9689}" type="slidenum">
              <a:rPr lang="fr-FR" altLang="fr-FR" smtClean="0">
                <a:solidFill>
                  <a:srgbClr val="003882"/>
                </a:solidFill>
                <a:latin typeface="Arial Narrow" panose="020B0606020202030204" pitchFamily="34" charset="0"/>
              </a:rPr>
              <a:pPr/>
              <a:t>25</a:t>
            </a:fld>
            <a:endParaRPr lang="fr-FR" altLang="fr-FR" smtClean="0">
              <a:solidFill>
                <a:srgbClr val="003882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4236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5" name="Espace réservé du contenu 2"/>
          <p:cNvSpPr>
            <a:spLocks noGrp="1"/>
          </p:cNvSpPr>
          <p:nvPr>
            <p:ph idx="1"/>
          </p:nvPr>
        </p:nvSpPr>
        <p:spPr>
          <a:xfrm>
            <a:off x="521812" y="1216410"/>
            <a:ext cx="8688590" cy="5433771"/>
          </a:xfrm>
        </p:spPr>
        <p:txBody>
          <a:bodyPr/>
          <a:lstStyle/>
          <a:p>
            <a:pPr marL="0" indent="0" algn="ctr">
              <a:buNone/>
            </a:pPr>
            <a:endParaRPr lang="fr-FR" altLang="fr-FR" sz="3200" dirty="0" smtClean="0"/>
          </a:p>
          <a:p>
            <a:pPr marL="0" indent="0" algn="ctr">
              <a:buNone/>
            </a:pPr>
            <a:r>
              <a:rPr lang="fr-FR" altLang="fr-FR" sz="3200" dirty="0" smtClean="0"/>
              <a:t>MERCI</a:t>
            </a:r>
            <a:endParaRPr lang="fr-FR" altLang="fr-FR" sz="3200" dirty="0" smtClean="0"/>
          </a:p>
          <a:p>
            <a:pPr marL="0" indent="0" algn="ctr">
              <a:buNone/>
            </a:pPr>
            <a:r>
              <a:rPr lang="fr-FR" altLang="fr-FR" sz="3200" dirty="0" smtClean="0"/>
              <a:t>ET</a:t>
            </a:r>
          </a:p>
          <a:p>
            <a:pPr marL="0" indent="0" algn="ctr">
              <a:buNone/>
            </a:pPr>
            <a:r>
              <a:rPr lang="fr-FR" altLang="fr-FR" sz="3200" dirty="0" smtClean="0"/>
              <a:t>HEUREUX DE VOUS AVOIR RETROUVES</a:t>
            </a:r>
          </a:p>
          <a:p>
            <a:pPr marL="0" indent="0" algn="ctr">
              <a:buNone/>
            </a:pPr>
            <a:endParaRPr lang="fr-FR" altLang="fr-FR" sz="3200" dirty="0"/>
          </a:p>
          <a:p>
            <a:pPr marL="0" indent="0" algn="ctr">
              <a:buNone/>
            </a:pPr>
            <a:r>
              <a:rPr lang="fr-FR" altLang="fr-FR" sz="3200" dirty="0" smtClean="0"/>
              <a:t>Prochain rendez-vous </a:t>
            </a:r>
            <a:endParaRPr lang="fr-FR" altLang="fr-FR" sz="3200" dirty="0" smtClean="0"/>
          </a:p>
          <a:p>
            <a:pPr marL="0" indent="0" algn="ctr">
              <a:buNone/>
            </a:pPr>
            <a:r>
              <a:rPr lang="fr-FR" altLang="fr-FR" sz="3200" dirty="0" smtClean="0"/>
              <a:t>le 05 février 2020 de 10h à 12h</a:t>
            </a:r>
            <a:endParaRPr lang="fr-FR" altLang="fr-FR" sz="3200" dirty="0" smtClean="0"/>
          </a:p>
        </p:txBody>
      </p:sp>
      <p:sp>
        <p:nvSpPr>
          <p:cNvPr id="44036" name="Espace réservé du numéro de diapositive 3"/>
          <p:cNvSpPr>
            <a:spLocks noGrp="1"/>
          </p:cNvSpPr>
          <p:nvPr>
            <p:ph type="sldNum" sz="quarter" idx="429496729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827795" indent="-31838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273531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782943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292355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801767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311180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820592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4330004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238CE619-B6CE-4E06-8EF5-CA456E7B9689}" type="slidenum">
              <a:rPr lang="fr-FR" altLang="fr-FR" smtClean="0">
                <a:solidFill>
                  <a:srgbClr val="003882"/>
                </a:solidFill>
                <a:latin typeface="Arial Narrow" panose="020B0606020202030204" pitchFamily="34" charset="0"/>
              </a:rPr>
              <a:pPr/>
              <a:t>26</a:t>
            </a:fld>
            <a:endParaRPr lang="fr-FR" altLang="fr-FR" smtClean="0">
              <a:solidFill>
                <a:srgbClr val="003882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1393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Espace réservé du numéro de diapositive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C0917702-3B4E-4EE9-B9E8-F83C071DA5C9}" type="slidenum">
              <a:rPr lang="fr-FR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pPr/>
              <a:t>3</a:t>
            </a:fld>
            <a:endParaRPr lang="fr-FR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8851" name="Image 4" descr="LOGO_DSN_diapo_RVB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0845" y="5873296"/>
            <a:ext cx="1363784" cy="1491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4"/>
          <p:cNvSpPr txBox="1">
            <a:spLocks noChangeArrowheads="1"/>
          </p:cNvSpPr>
          <p:nvPr/>
        </p:nvSpPr>
        <p:spPr bwMode="auto">
          <a:xfrm>
            <a:off x="275940" y="1923456"/>
            <a:ext cx="9636694" cy="3595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2475" tIns="51237" rIns="102475" bIns="51237"/>
          <a:lstStyle/>
          <a:p>
            <a:pPr algn="ctr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fr-FR" sz="3565" b="1" kern="0" dirty="0">
              <a:solidFill>
                <a:srgbClr val="00B0E6"/>
              </a:solidFill>
              <a:latin typeface="Calibri" pitchFamily="34" charset="0"/>
            </a:endParaRPr>
          </a:p>
          <a:p>
            <a:pPr algn="ctr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fr-FR" sz="4011" b="1" i="1" kern="0" dirty="0">
              <a:solidFill>
                <a:srgbClr val="00B0E6"/>
              </a:solidFill>
              <a:latin typeface="Calibri" pitchFamily="34" charset="0"/>
            </a:endParaRPr>
          </a:p>
          <a:p>
            <a:pPr marL="382059" lvl="0" indent="-382059" eaLnBrk="0" fontAlgn="base" hangingPunct="0">
              <a:lnSpc>
                <a:spcPct val="90000"/>
              </a:lnSpc>
              <a:spcBef>
                <a:spcPct val="75000"/>
              </a:spcBef>
              <a:spcAft>
                <a:spcPct val="0"/>
              </a:spcAft>
              <a:buSzPct val="125000"/>
              <a:buBlip>
                <a:blip r:embed="rId4"/>
              </a:buBlip>
            </a:pPr>
            <a:r>
              <a:rPr lang="fr-FR" sz="2800" b="1" dirty="0"/>
              <a:t>Actualité d’ensemble </a:t>
            </a:r>
            <a:r>
              <a:rPr lang="fr-FR" sz="2800" b="1" dirty="0" smtClean="0"/>
              <a:t>GIP-MDS</a:t>
            </a:r>
            <a:r>
              <a:rPr lang="fr-FR" sz="2800" b="1" dirty="0"/>
              <a:t> : </a:t>
            </a:r>
            <a:r>
              <a:rPr lang="fr-FR" sz="2800" b="1" dirty="0" err="1"/>
              <a:t>net-entreprises</a:t>
            </a:r>
            <a:r>
              <a:rPr lang="fr-FR" sz="2800" b="1" dirty="0"/>
              <a:t>, DSN, net-CRM, PASRAU, crise </a:t>
            </a:r>
            <a:r>
              <a:rPr lang="fr-FR" sz="2800" b="1" dirty="0" smtClean="0"/>
              <a:t>COVID</a:t>
            </a:r>
          </a:p>
        </p:txBody>
      </p:sp>
      <p:pic>
        <p:nvPicPr>
          <p:cNvPr id="5" name="Picture 3" descr="C:\Users\flelogeais\AppData\Local\Microsoft\Windows\Temporary Internet Files\Content.Outlook\I9SEFXJ7\LOGO gip-mds seul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5843" y="223286"/>
            <a:ext cx="1649556" cy="80233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435397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Espace réservé du numéro de diapositive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C0917702-3B4E-4EE9-B9E8-F83C071DA5C9}" type="slidenum">
              <a:rPr lang="fr-FR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pPr/>
              <a:t>4</a:t>
            </a:fld>
            <a:endParaRPr lang="fr-FR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8851" name="Image 4" descr="LOGO_DSN_diapo_RVB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0845" y="5873296"/>
            <a:ext cx="1363784" cy="1491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4"/>
          <p:cNvSpPr txBox="1">
            <a:spLocks noChangeArrowheads="1"/>
          </p:cNvSpPr>
          <p:nvPr/>
        </p:nvSpPr>
        <p:spPr bwMode="auto">
          <a:xfrm>
            <a:off x="275940" y="1923456"/>
            <a:ext cx="9636694" cy="3595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2475" tIns="51237" rIns="102475" bIns="51237"/>
          <a:lstStyle/>
          <a:p>
            <a:pPr algn="ctr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fr-FR" sz="3565" b="1" kern="0" dirty="0">
              <a:solidFill>
                <a:srgbClr val="00B0E6"/>
              </a:solidFill>
              <a:latin typeface="Calibri" pitchFamily="34" charset="0"/>
            </a:endParaRPr>
          </a:p>
          <a:p>
            <a:pPr algn="ctr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fr-FR" sz="4011" b="1" i="1" kern="0" dirty="0">
              <a:solidFill>
                <a:srgbClr val="00B0E6"/>
              </a:solidFill>
              <a:latin typeface="Calibri" pitchFamily="34" charset="0"/>
            </a:endParaRPr>
          </a:p>
          <a:p>
            <a:pPr marL="382059" lvl="0" indent="-382059" eaLnBrk="0" fontAlgn="base" hangingPunct="0">
              <a:lnSpc>
                <a:spcPct val="90000"/>
              </a:lnSpc>
              <a:spcBef>
                <a:spcPct val="75000"/>
              </a:spcBef>
              <a:spcAft>
                <a:spcPct val="0"/>
              </a:spcAft>
              <a:buSzPct val="125000"/>
              <a:buBlip>
                <a:blip r:embed="rId4"/>
              </a:buBlip>
            </a:pPr>
            <a:r>
              <a:rPr lang="fr-FR" sz="2800" b="1" dirty="0" smtClean="0"/>
              <a:t>Actualité d’ensemble sur la communication du GIP-MDS</a:t>
            </a:r>
            <a:endParaRPr lang="fr-FR" sz="2800" b="1" dirty="0"/>
          </a:p>
        </p:txBody>
      </p:sp>
      <p:pic>
        <p:nvPicPr>
          <p:cNvPr id="5" name="Picture 3" descr="C:\Users\flelogeais\AppData\Local\Microsoft\Windows\Temporary Internet Files\Content.Outlook\I9SEFXJ7\LOGO gip-mds seul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5843" y="223286"/>
            <a:ext cx="1649556" cy="80233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61553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Titre 1"/>
          <p:cNvSpPr>
            <a:spLocks noGrp="1"/>
          </p:cNvSpPr>
          <p:nvPr>
            <p:ph type="title"/>
          </p:nvPr>
        </p:nvSpPr>
        <p:spPr>
          <a:xfrm>
            <a:off x="205702" y="173453"/>
            <a:ext cx="9144954" cy="938930"/>
          </a:xfrm>
        </p:spPr>
        <p:txBody>
          <a:bodyPr/>
          <a:lstStyle/>
          <a:p>
            <a:pPr algn="ctr"/>
            <a:r>
              <a:rPr lang="fr-FR" altLang="fr-FR" dirty="0" smtClean="0"/>
              <a:t>Les publications récentes</a:t>
            </a:r>
          </a:p>
        </p:txBody>
      </p:sp>
      <p:sp>
        <p:nvSpPr>
          <p:cNvPr id="44036" name="Espace réservé du numéro de diapositive 3"/>
          <p:cNvSpPr>
            <a:spLocks noGrp="1"/>
          </p:cNvSpPr>
          <p:nvPr>
            <p:ph type="sldNum" sz="quarter" idx="429496729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827795" indent="-31838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273531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782943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292355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801767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311180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820592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4330004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238CE619-B6CE-4E06-8EF5-CA456E7B9689}" type="slidenum">
              <a:rPr lang="fr-FR" altLang="fr-FR" smtClean="0">
                <a:solidFill>
                  <a:srgbClr val="003882"/>
                </a:solidFill>
                <a:latin typeface="Arial Narrow" panose="020B0606020202030204" pitchFamily="34" charset="0"/>
              </a:rPr>
              <a:pPr/>
              <a:t>5</a:t>
            </a:fld>
            <a:endParaRPr lang="fr-FR" altLang="fr-FR" smtClean="0">
              <a:solidFill>
                <a:srgbClr val="003882"/>
              </a:solidFill>
              <a:latin typeface="Arial Narrow" panose="020B0606020202030204" pitchFamily="34" charset="0"/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45556" y="1297562"/>
            <a:ext cx="1612403" cy="22535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94657" y="1102992"/>
            <a:ext cx="1583855" cy="22535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0250" y="1247089"/>
            <a:ext cx="1699739" cy="22814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5" name="Titre 1"/>
          <p:cNvSpPr txBox="1">
            <a:spLocks/>
          </p:cNvSpPr>
          <p:nvPr/>
        </p:nvSpPr>
        <p:spPr bwMode="auto">
          <a:xfrm>
            <a:off x="562495" y="3864046"/>
            <a:ext cx="4395054" cy="633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969" tIns="45984" rIns="91969" bIns="45984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5pPr>
            <a:lvl6pPr marL="509412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6pPr>
            <a:lvl7pPr marL="1018824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7pPr>
            <a:lvl8pPr marL="1528237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8pPr>
            <a:lvl9pPr marL="2037649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9pPr>
          </a:lstStyle>
          <a:p>
            <a:pPr algn="ctr" defTabSz="914400"/>
            <a:r>
              <a:rPr lang="fr-FR" altLang="fr-FR" sz="2400" kern="0" dirty="0" smtClean="0">
                <a:solidFill>
                  <a:srgbClr val="0070C0"/>
                </a:solidFill>
              </a:rPr>
              <a:t>La Lettre Réseau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5308" y="4372692"/>
            <a:ext cx="1993696" cy="279038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92138" y="4375700"/>
            <a:ext cx="2017877" cy="27880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0" name="Titre 1"/>
          <p:cNvSpPr txBox="1">
            <a:spLocks/>
          </p:cNvSpPr>
          <p:nvPr/>
        </p:nvSpPr>
        <p:spPr bwMode="auto">
          <a:xfrm>
            <a:off x="6291530" y="941623"/>
            <a:ext cx="2859738" cy="436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969" tIns="45984" rIns="91969" bIns="45984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5pPr>
            <a:lvl6pPr marL="509412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6pPr>
            <a:lvl7pPr marL="1018824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7pPr>
            <a:lvl8pPr marL="1528237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8pPr>
            <a:lvl9pPr marL="2037649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9pPr>
          </a:lstStyle>
          <a:p>
            <a:pPr algn="ctr" defTabSz="914400"/>
            <a:r>
              <a:rPr lang="fr-FR" altLang="fr-FR" sz="2400" kern="0" dirty="0" smtClean="0">
                <a:solidFill>
                  <a:srgbClr val="0070C0"/>
                </a:solidFill>
              </a:rPr>
              <a:t>Les Kakémonos </a:t>
            </a: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12616" y="1479940"/>
            <a:ext cx="1941056" cy="49252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07247" y="1474678"/>
            <a:ext cx="1940466" cy="48874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543996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Titre 1"/>
          <p:cNvSpPr>
            <a:spLocks noGrp="1"/>
          </p:cNvSpPr>
          <p:nvPr>
            <p:ph type="title"/>
          </p:nvPr>
        </p:nvSpPr>
        <p:spPr>
          <a:xfrm>
            <a:off x="95574" y="31332"/>
            <a:ext cx="9144954" cy="938930"/>
          </a:xfrm>
        </p:spPr>
        <p:txBody>
          <a:bodyPr/>
          <a:lstStyle/>
          <a:p>
            <a:pPr algn="ctr"/>
            <a:r>
              <a:rPr lang="fr-FR" altLang="fr-FR" dirty="0"/>
              <a:t>La campagne Rencontres Extra </a:t>
            </a:r>
            <a:r>
              <a:rPr lang="fr-FR" altLang="fr-FR" dirty="0" smtClean="0"/>
              <a:t/>
            </a:r>
            <a:br>
              <a:rPr lang="fr-FR" altLang="fr-FR" dirty="0" smtClean="0"/>
            </a:br>
            <a:r>
              <a:rPr lang="fr-FR" altLang="fr-FR" dirty="0" smtClean="0"/>
              <a:t>et Affiches </a:t>
            </a:r>
            <a:r>
              <a:rPr lang="fr-FR" altLang="fr-FR" dirty="0" err="1" smtClean="0"/>
              <a:t>Net-entreprises</a:t>
            </a:r>
            <a:r>
              <a:rPr lang="fr-FR" altLang="fr-FR" dirty="0" smtClean="0"/>
              <a:t> </a:t>
            </a:r>
          </a:p>
        </p:txBody>
      </p:sp>
      <p:sp>
        <p:nvSpPr>
          <p:cNvPr id="44035" name="Espace réservé du contenu 2"/>
          <p:cNvSpPr>
            <a:spLocks noGrp="1"/>
          </p:cNvSpPr>
          <p:nvPr>
            <p:ph idx="1"/>
          </p:nvPr>
        </p:nvSpPr>
        <p:spPr>
          <a:xfrm>
            <a:off x="3302113" y="955050"/>
            <a:ext cx="5897047" cy="2426890"/>
          </a:xfrm>
        </p:spPr>
        <p:txBody>
          <a:bodyPr/>
          <a:lstStyle/>
          <a:p>
            <a:endParaRPr lang="fr-FR" altLang="fr-FR" dirty="0" smtClean="0"/>
          </a:p>
          <a:p>
            <a:endParaRPr lang="fr-FR" altLang="fr-FR" dirty="0"/>
          </a:p>
          <a:p>
            <a:endParaRPr lang="fr-FR" altLang="fr-FR" dirty="0"/>
          </a:p>
          <a:p>
            <a:endParaRPr lang="fr-FR" altLang="fr-FR" dirty="0" smtClean="0"/>
          </a:p>
        </p:txBody>
      </p:sp>
      <p:sp>
        <p:nvSpPr>
          <p:cNvPr id="44036" name="Espace réservé du numéro de diapositive 3"/>
          <p:cNvSpPr>
            <a:spLocks noGrp="1"/>
          </p:cNvSpPr>
          <p:nvPr>
            <p:ph type="sldNum" sz="quarter" idx="429496729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827795" indent="-31838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273531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782943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292355" indent="-254706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801767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311180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820592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4330004" indent="-2547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238CE619-B6CE-4E06-8EF5-CA456E7B9689}" type="slidenum">
              <a:rPr lang="fr-FR" altLang="fr-FR" smtClean="0">
                <a:solidFill>
                  <a:srgbClr val="003882"/>
                </a:solidFill>
                <a:latin typeface="Arial Narrow" panose="020B0606020202030204" pitchFamily="34" charset="0"/>
              </a:rPr>
              <a:pPr/>
              <a:t>6</a:t>
            </a:fld>
            <a:endParaRPr lang="fr-FR" altLang="fr-FR" smtClean="0">
              <a:solidFill>
                <a:srgbClr val="003882"/>
              </a:solidFill>
              <a:latin typeface="Arial Narrow" panose="020B0606020202030204" pitchFamily="34" charset="0"/>
            </a:endParaRPr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8898" y="1516548"/>
            <a:ext cx="1746570" cy="26218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2897" y="4414529"/>
            <a:ext cx="1725141" cy="25897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" name="Titre 1"/>
          <p:cNvSpPr txBox="1">
            <a:spLocks/>
          </p:cNvSpPr>
          <p:nvPr/>
        </p:nvSpPr>
        <p:spPr bwMode="auto">
          <a:xfrm>
            <a:off x="5104410" y="1073513"/>
            <a:ext cx="2143628" cy="359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969" tIns="45984" rIns="91969" bIns="45984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5pPr>
            <a:lvl6pPr marL="509412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6pPr>
            <a:lvl7pPr marL="1018824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7pPr>
            <a:lvl8pPr marL="1528237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8pPr>
            <a:lvl9pPr marL="2037649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9pPr>
          </a:lstStyle>
          <a:p>
            <a:pPr algn="ctr" defTabSz="914400"/>
            <a:r>
              <a:rPr lang="fr-FR" altLang="fr-FR" sz="2400" kern="0" dirty="0" smtClean="0">
                <a:solidFill>
                  <a:srgbClr val="0070C0"/>
                </a:solidFill>
              </a:rPr>
              <a:t>Affiches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28196" y="1757325"/>
            <a:ext cx="2079753" cy="510998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Titre 1"/>
          <p:cNvSpPr txBox="1">
            <a:spLocks/>
          </p:cNvSpPr>
          <p:nvPr/>
        </p:nvSpPr>
        <p:spPr bwMode="auto">
          <a:xfrm>
            <a:off x="7564581" y="1173734"/>
            <a:ext cx="2421083" cy="4875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969" tIns="45984" rIns="91969" bIns="45984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5pPr>
            <a:lvl6pPr marL="509412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6pPr>
            <a:lvl7pPr marL="1018824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7pPr>
            <a:lvl8pPr marL="1528237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8pPr>
            <a:lvl9pPr marL="2037649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9pPr>
          </a:lstStyle>
          <a:p>
            <a:pPr algn="ctr" defTabSz="914400"/>
            <a:r>
              <a:rPr lang="fr-FR" altLang="fr-FR" sz="2400" kern="0" dirty="0" smtClean="0">
                <a:solidFill>
                  <a:srgbClr val="0070C0"/>
                </a:solidFill>
              </a:rPr>
              <a:t>Kakémono</a:t>
            </a: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613" y="3902114"/>
            <a:ext cx="4590983" cy="8563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734" y="5473084"/>
            <a:ext cx="4672862" cy="14946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9" name="Titre 1"/>
          <p:cNvSpPr txBox="1">
            <a:spLocks/>
          </p:cNvSpPr>
          <p:nvPr/>
        </p:nvSpPr>
        <p:spPr bwMode="auto">
          <a:xfrm>
            <a:off x="768279" y="5065728"/>
            <a:ext cx="3899772" cy="436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969" tIns="45984" rIns="91969" bIns="45984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5pPr>
            <a:lvl6pPr marL="509412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6pPr>
            <a:lvl7pPr marL="1018824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7pPr>
            <a:lvl8pPr marL="1528237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8pPr>
            <a:lvl9pPr marL="2037649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9pPr>
          </a:lstStyle>
          <a:p>
            <a:pPr algn="ctr" defTabSz="914400"/>
            <a:r>
              <a:rPr lang="fr-FR" altLang="fr-FR" sz="2400" kern="0" dirty="0" smtClean="0">
                <a:solidFill>
                  <a:srgbClr val="0070C0"/>
                </a:solidFill>
              </a:rPr>
              <a:t>Bannière invitation</a:t>
            </a:r>
          </a:p>
        </p:txBody>
      </p:sp>
      <p:sp>
        <p:nvSpPr>
          <p:cNvPr id="20" name="Titre 1"/>
          <p:cNvSpPr txBox="1">
            <a:spLocks/>
          </p:cNvSpPr>
          <p:nvPr/>
        </p:nvSpPr>
        <p:spPr bwMode="auto">
          <a:xfrm>
            <a:off x="436920" y="3498046"/>
            <a:ext cx="4342420" cy="436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969" tIns="45984" rIns="91969" bIns="45984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5pPr>
            <a:lvl6pPr marL="509412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6pPr>
            <a:lvl7pPr marL="1018824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7pPr>
            <a:lvl8pPr marL="1528237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8pPr>
            <a:lvl9pPr marL="2037649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9pPr>
          </a:lstStyle>
          <a:p>
            <a:pPr algn="ctr" defTabSz="914400"/>
            <a:r>
              <a:rPr lang="fr-FR" altLang="fr-FR" sz="2400" kern="0" dirty="0" smtClean="0">
                <a:solidFill>
                  <a:srgbClr val="0070C0"/>
                </a:solidFill>
              </a:rPr>
              <a:t>Signature de mails</a:t>
            </a:r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652" y="1432817"/>
            <a:ext cx="3797931" cy="16226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2" name="Titre 1"/>
          <p:cNvSpPr txBox="1">
            <a:spLocks/>
          </p:cNvSpPr>
          <p:nvPr/>
        </p:nvSpPr>
        <p:spPr bwMode="auto">
          <a:xfrm>
            <a:off x="1316068" y="1060674"/>
            <a:ext cx="2312695" cy="512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969" tIns="45984" rIns="91969" bIns="45984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5pPr>
            <a:lvl6pPr marL="509412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6pPr>
            <a:lvl7pPr marL="1018824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7pPr>
            <a:lvl8pPr marL="1528237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8pPr>
            <a:lvl9pPr marL="2037649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120" b="1">
                <a:solidFill>
                  <a:srgbClr val="004272"/>
                </a:solidFill>
                <a:latin typeface="Arial" charset="0"/>
                <a:cs typeface="Arial" charset="0"/>
              </a:defRPr>
            </a:lvl9pPr>
          </a:lstStyle>
          <a:p>
            <a:pPr algn="ctr" defTabSz="914400"/>
            <a:r>
              <a:rPr lang="fr-FR" altLang="fr-FR" sz="2400" kern="0" dirty="0" smtClean="0">
                <a:solidFill>
                  <a:srgbClr val="0070C0"/>
                </a:solidFill>
              </a:rPr>
              <a:t>Label</a:t>
            </a:r>
          </a:p>
        </p:txBody>
      </p:sp>
    </p:spTree>
    <p:extLst>
      <p:ext uri="{BB962C8B-B14F-4D97-AF65-F5344CB8AC3E}">
        <p14:creationId xmlns:p14="http://schemas.microsoft.com/office/powerpoint/2010/main" val="32906369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Focus nouveau site du GIP-MD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21811" y="869661"/>
            <a:ext cx="9144954" cy="6541558"/>
          </a:xfrm>
        </p:spPr>
        <p:txBody>
          <a:bodyPr/>
          <a:lstStyle/>
          <a:p>
            <a:pPr marL="0" indent="0">
              <a:buNone/>
            </a:pPr>
            <a:r>
              <a:rPr lang="fr-FR" sz="1800" dirty="0"/>
              <a:t>Le </a:t>
            </a:r>
            <a:r>
              <a:rPr lang="fr-FR" sz="1800" dirty="0" smtClean="0"/>
              <a:t>GIP-MDS s’est doté </a:t>
            </a:r>
            <a:r>
              <a:rPr lang="fr-FR" sz="1800" dirty="0"/>
              <a:t>d’un nouveau site internet </a:t>
            </a:r>
            <a:r>
              <a:rPr lang="fr-FR" sz="1800" dirty="0" smtClean="0"/>
              <a:t>institutionnel : </a:t>
            </a:r>
            <a:r>
              <a:rPr lang="fr-FR" sz="1800" dirty="0" smtClean="0">
                <a:hlinkClick r:id="rId2"/>
              </a:rPr>
              <a:t>www.gip-mds.fr</a:t>
            </a:r>
            <a:endParaRPr lang="fr-FR" sz="1800" dirty="0" smtClean="0"/>
          </a:p>
          <a:p>
            <a:pPr marL="0" indent="0">
              <a:buNone/>
            </a:pPr>
            <a:endParaRPr lang="fr-FR" sz="1000" dirty="0"/>
          </a:p>
          <a:p>
            <a:pPr marL="0" indent="0">
              <a:buNone/>
            </a:pPr>
            <a:r>
              <a:rPr lang="fr-FR" sz="2400" dirty="0" smtClean="0"/>
              <a:t>Principaux objectifs :</a:t>
            </a:r>
            <a:endParaRPr lang="fr-FR" sz="2400" dirty="0"/>
          </a:p>
          <a:p>
            <a:r>
              <a:rPr lang="fr-FR" sz="1900" dirty="0" smtClean="0"/>
              <a:t>Valoriser le collectif qui fonde le GIP-MDS</a:t>
            </a:r>
          </a:p>
          <a:p>
            <a:r>
              <a:rPr lang="fr-FR" sz="1900" dirty="0"/>
              <a:t>P</a:t>
            </a:r>
            <a:r>
              <a:rPr lang="fr-FR" sz="1900" dirty="0" smtClean="0"/>
              <a:t>résenter sa raison d’être, ses missions</a:t>
            </a:r>
          </a:p>
          <a:p>
            <a:r>
              <a:rPr lang="fr-FR" sz="1900" dirty="0"/>
              <a:t>D</a:t>
            </a:r>
            <a:r>
              <a:rPr lang="fr-FR" sz="1900" dirty="0" smtClean="0"/>
              <a:t>onner une plus grande </a:t>
            </a:r>
            <a:r>
              <a:rPr lang="fr-FR" sz="1900" dirty="0"/>
              <a:t>visibilité aux consultations et procédures des marchés publics en cours </a:t>
            </a:r>
            <a:endParaRPr lang="fr-FR" sz="1900" dirty="0" smtClean="0"/>
          </a:p>
          <a:p>
            <a:r>
              <a:rPr lang="fr-FR" sz="1900" dirty="0" smtClean="0"/>
              <a:t>Mettre en relief un espace dédié aux RH et publier les </a:t>
            </a:r>
            <a:r>
              <a:rPr lang="fr-FR" sz="1900" dirty="0"/>
              <a:t>offres </a:t>
            </a:r>
            <a:r>
              <a:rPr lang="fr-FR" sz="1900" dirty="0" smtClean="0"/>
              <a:t>d’emploi</a:t>
            </a:r>
          </a:p>
          <a:p>
            <a:pPr marL="0" indent="0">
              <a:buNone/>
            </a:pPr>
            <a:endParaRPr lang="fr-FR" sz="800" dirty="0" smtClean="0"/>
          </a:p>
          <a:p>
            <a:pPr marL="0" indent="0">
              <a:buNone/>
            </a:pPr>
            <a:r>
              <a:rPr lang="fr-FR" sz="2400" dirty="0"/>
              <a:t>P</a:t>
            </a:r>
            <a:r>
              <a:rPr lang="fr-FR" sz="2400" dirty="0" smtClean="0"/>
              <a:t>artis-pris :</a:t>
            </a:r>
            <a:endParaRPr lang="fr-FR" sz="2400" dirty="0"/>
          </a:p>
          <a:p>
            <a:r>
              <a:rPr lang="fr-FR" sz="1900" dirty="0" smtClean="0"/>
              <a:t>Mettre en relief le capital humain du GIP-MDS :</a:t>
            </a:r>
          </a:p>
          <a:p>
            <a:pPr lvl="1"/>
            <a:r>
              <a:rPr lang="fr-FR" dirty="0" smtClean="0"/>
              <a:t>Via des </a:t>
            </a:r>
            <a:r>
              <a:rPr lang="fr-FR" dirty="0"/>
              <a:t>illustrations et verbatim </a:t>
            </a:r>
            <a:r>
              <a:rPr lang="fr-FR" dirty="0" smtClean="0"/>
              <a:t>qui révèlent </a:t>
            </a:r>
            <a:r>
              <a:rPr lang="fr-FR" dirty="0"/>
              <a:t>les visages d’une équipe qui croise au quotidien datas et efficience des </a:t>
            </a:r>
            <a:r>
              <a:rPr lang="fr-FR" dirty="0" smtClean="0"/>
              <a:t>systèmes</a:t>
            </a:r>
          </a:p>
          <a:p>
            <a:pPr lvl="1"/>
            <a:r>
              <a:rPr lang="fr-FR" dirty="0"/>
              <a:t>P</a:t>
            </a:r>
            <a:r>
              <a:rPr lang="fr-FR" dirty="0" smtClean="0"/>
              <a:t>our </a:t>
            </a:r>
            <a:r>
              <a:rPr lang="fr-FR" dirty="0"/>
              <a:t>concevoir des solutions innovantes qui facilitent la vie des </a:t>
            </a:r>
            <a:r>
              <a:rPr lang="fr-FR" dirty="0" smtClean="0"/>
              <a:t>entreprise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BA4BC9F-D276-4D76-BA30-608D21EF5ECE}" type="slidenum">
              <a:rPr lang="fr-FR" smtClean="0">
                <a:solidFill>
                  <a:srgbClr val="FFFFFF"/>
                </a:solidFill>
              </a:rPr>
              <a:pPr>
                <a:defRPr/>
              </a:pPr>
              <a:t>7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219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Focus nouveau site du GIP-MD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BA4BC9F-D276-4D76-BA30-608D21EF5ECE}" type="slidenum">
              <a:rPr lang="fr-FR" smtClean="0">
                <a:solidFill>
                  <a:srgbClr val="FFFFFF"/>
                </a:solidFill>
              </a:rPr>
              <a:pPr>
                <a:defRPr/>
              </a:pPr>
              <a:t>8</a:t>
            </a:fld>
            <a:endParaRPr lang="fr-FR">
              <a:solidFill>
                <a:srgbClr val="FFFFFF"/>
              </a:solidFill>
            </a:endParaRPr>
          </a:p>
        </p:txBody>
      </p:sp>
      <p:pic>
        <p:nvPicPr>
          <p:cNvPr id="5" name="Espace réservé du contenu 4"/>
          <p:cNvPicPr>
            <a:picLocks noGrp="1"/>
          </p:cNvPicPr>
          <p:nvPr>
            <p:ph idx="1"/>
          </p:nvPr>
        </p:nvPicPr>
        <p:blipFill rotWithShape="1">
          <a:blip r:embed="rId2"/>
          <a:srcRect l="36254" t="10603" r="38142" b="31317"/>
          <a:stretch/>
        </p:blipFill>
        <p:spPr bwMode="auto">
          <a:xfrm>
            <a:off x="5175656" y="1105196"/>
            <a:ext cx="4491110" cy="595109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Image 6"/>
          <p:cNvPicPr/>
          <p:nvPr/>
        </p:nvPicPr>
        <p:blipFill rotWithShape="1">
          <a:blip r:embed="rId3"/>
          <a:srcRect l="33043" t="10603" r="34379" b="9619"/>
          <a:stretch/>
        </p:blipFill>
        <p:spPr bwMode="auto">
          <a:xfrm>
            <a:off x="440444" y="1105196"/>
            <a:ext cx="4653844" cy="595109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4260097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Espace réservé du numéro de diapositive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C0917702-3B4E-4EE9-B9E8-F83C071DA5C9}" type="slidenum">
              <a:rPr lang="fr-FR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pPr/>
              <a:t>9</a:t>
            </a:fld>
            <a:endParaRPr lang="fr-FR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8851" name="Image 4" descr="LOGO_DSN_diapo_RVB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0845" y="5873296"/>
            <a:ext cx="1363784" cy="1491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4"/>
          <p:cNvSpPr txBox="1">
            <a:spLocks noChangeArrowheads="1"/>
          </p:cNvSpPr>
          <p:nvPr/>
        </p:nvSpPr>
        <p:spPr bwMode="auto">
          <a:xfrm>
            <a:off x="275940" y="1923456"/>
            <a:ext cx="9636694" cy="3595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2475" tIns="51237" rIns="102475" bIns="51237"/>
          <a:lstStyle/>
          <a:p>
            <a:pPr algn="ctr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fr-FR" sz="3565" b="1" kern="0" dirty="0">
              <a:solidFill>
                <a:srgbClr val="00B0E6"/>
              </a:solidFill>
              <a:latin typeface="Calibri" pitchFamily="34" charset="0"/>
            </a:endParaRPr>
          </a:p>
          <a:p>
            <a:pPr algn="ctr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fr-FR" sz="4011" b="1" i="1" kern="0" dirty="0">
              <a:solidFill>
                <a:srgbClr val="00B0E6"/>
              </a:solidFill>
              <a:latin typeface="Calibri" pitchFamily="34" charset="0"/>
            </a:endParaRPr>
          </a:p>
          <a:p>
            <a:pPr marL="382059" indent="-382059" eaLnBrk="0" fontAlgn="base" hangingPunct="0">
              <a:lnSpc>
                <a:spcPct val="90000"/>
              </a:lnSpc>
              <a:spcBef>
                <a:spcPct val="75000"/>
              </a:spcBef>
              <a:spcAft>
                <a:spcPct val="0"/>
              </a:spcAft>
              <a:buSzPct val="125000"/>
              <a:buBlip>
                <a:blip r:embed="rId4"/>
              </a:buBlip>
            </a:pPr>
            <a:r>
              <a:rPr lang="fr-FR" sz="2800" b="1" dirty="0"/>
              <a:t>Bilan des campagnes de push-mail face à la crise</a:t>
            </a:r>
          </a:p>
          <a:p>
            <a:pPr eaLnBrk="0" fontAlgn="base" hangingPunct="0">
              <a:lnSpc>
                <a:spcPct val="90000"/>
              </a:lnSpc>
              <a:spcBef>
                <a:spcPct val="75000"/>
              </a:spcBef>
              <a:spcAft>
                <a:spcPct val="0"/>
              </a:spcAft>
              <a:buSzPct val="125000"/>
            </a:pPr>
            <a:r>
              <a:rPr lang="fr-FR" sz="2800" b="1" dirty="0" smtClean="0"/>
              <a:t>et </a:t>
            </a:r>
            <a:r>
              <a:rPr lang="fr-FR" sz="2800" b="1" dirty="0"/>
              <a:t>pour répondre aux demandes des membres</a:t>
            </a:r>
          </a:p>
        </p:txBody>
      </p:sp>
      <p:pic>
        <p:nvPicPr>
          <p:cNvPr id="5" name="Picture 3" descr="C:\Users\flelogeais\AppData\Local\Microsoft\Windows\Temporary Internet Files\Content.Outlook\I9SEFXJ7\LOGO gip-mds seul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5843" y="223286"/>
            <a:ext cx="1649556" cy="80233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055570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g7UDAb.nCRxeB5zdvU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06VXyRVfOiFTBei67k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g7UDAb.nCRxeB5zdvU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qT7iRrcEY0w55QK8z1a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gip01">
  <a:themeElements>
    <a:clrScheme name="1_gip01 8">
      <a:dk1>
        <a:srgbClr val="004272"/>
      </a:dk1>
      <a:lt1>
        <a:srgbClr val="FFFFFF"/>
      </a:lt1>
      <a:dk2>
        <a:srgbClr val="004272"/>
      </a:dk2>
      <a:lt2>
        <a:srgbClr val="EEEEEE"/>
      </a:lt2>
      <a:accent1>
        <a:srgbClr val="00B0E6"/>
      </a:accent1>
      <a:accent2>
        <a:srgbClr val="A1A1A1"/>
      </a:accent2>
      <a:accent3>
        <a:srgbClr val="FFFFFF"/>
      </a:accent3>
      <a:accent4>
        <a:srgbClr val="003760"/>
      </a:accent4>
      <a:accent5>
        <a:srgbClr val="AAD4F0"/>
      </a:accent5>
      <a:accent6>
        <a:srgbClr val="919191"/>
      </a:accent6>
      <a:hlink>
        <a:srgbClr val="000000"/>
      </a:hlink>
      <a:folHlink>
        <a:srgbClr val="D9E4E7"/>
      </a:folHlink>
    </a:clrScheme>
    <a:fontScheme name="1_gip0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5">
              <a:lumMod val="90000"/>
            </a:schemeClr>
          </a:solidFill>
          <a:prstDash val="solid"/>
          <a:round/>
          <a:headEnd type="none" w="med" len="med"/>
          <a:tailEnd type="triangle"/>
        </a:ln>
        <a:effectLst/>
      </a:spPr>
      <a:bodyPr/>
      <a:lstStyle/>
    </a:lnDef>
  </a:objectDefaults>
  <a:extraClrSchemeLst>
    <a:extraClrScheme>
      <a:clrScheme name="1_gip01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gip01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ip01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ip01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ip01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ip01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ip01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ip01 8">
        <a:dk1>
          <a:srgbClr val="004272"/>
        </a:dk1>
        <a:lt1>
          <a:srgbClr val="FFFFFF"/>
        </a:lt1>
        <a:dk2>
          <a:srgbClr val="004272"/>
        </a:dk2>
        <a:lt2>
          <a:srgbClr val="EEEEEE"/>
        </a:lt2>
        <a:accent1>
          <a:srgbClr val="00B0E6"/>
        </a:accent1>
        <a:accent2>
          <a:srgbClr val="A1A1A1"/>
        </a:accent2>
        <a:accent3>
          <a:srgbClr val="FFFFFF"/>
        </a:accent3>
        <a:accent4>
          <a:srgbClr val="003760"/>
        </a:accent4>
        <a:accent5>
          <a:srgbClr val="AAD4F0"/>
        </a:accent5>
        <a:accent6>
          <a:srgbClr val="919191"/>
        </a:accent6>
        <a:hlink>
          <a:srgbClr val="000000"/>
        </a:hlink>
        <a:folHlink>
          <a:srgbClr val="D9E4E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ip01 9">
        <a:dk1>
          <a:srgbClr val="848484"/>
        </a:dk1>
        <a:lt1>
          <a:srgbClr val="FFFFFF"/>
        </a:lt1>
        <a:dk2>
          <a:srgbClr val="00B0E6"/>
        </a:dk2>
        <a:lt2>
          <a:srgbClr val="EEEEEE"/>
        </a:lt2>
        <a:accent1>
          <a:srgbClr val="004E61"/>
        </a:accent1>
        <a:accent2>
          <a:srgbClr val="A1A1A1"/>
        </a:accent2>
        <a:accent3>
          <a:srgbClr val="FFFFFF"/>
        </a:accent3>
        <a:accent4>
          <a:srgbClr val="707070"/>
        </a:accent4>
        <a:accent5>
          <a:srgbClr val="AAB2B7"/>
        </a:accent5>
        <a:accent6>
          <a:srgbClr val="919191"/>
        </a:accent6>
        <a:hlink>
          <a:srgbClr val="000000"/>
        </a:hlink>
        <a:folHlink>
          <a:srgbClr val="D9E4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9_gip01">
  <a:themeElements>
    <a:clrScheme name="1_gip01 8">
      <a:dk1>
        <a:srgbClr val="004272"/>
      </a:dk1>
      <a:lt1>
        <a:srgbClr val="FFFFFF"/>
      </a:lt1>
      <a:dk2>
        <a:srgbClr val="004272"/>
      </a:dk2>
      <a:lt2>
        <a:srgbClr val="EEEEEE"/>
      </a:lt2>
      <a:accent1>
        <a:srgbClr val="00B0E6"/>
      </a:accent1>
      <a:accent2>
        <a:srgbClr val="A1A1A1"/>
      </a:accent2>
      <a:accent3>
        <a:srgbClr val="FFFFFF"/>
      </a:accent3>
      <a:accent4>
        <a:srgbClr val="003760"/>
      </a:accent4>
      <a:accent5>
        <a:srgbClr val="AAD4F0"/>
      </a:accent5>
      <a:accent6>
        <a:srgbClr val="919191"/>
      </a:accent6>
      <a:hlink>
        <a:srgbClr val="000000"/>
      </a:hlink>
      <a:folHlink>
        <a:srgbClr val="D9E4E7"/>
      </a:folHlink>
    </a:clrScheme>
    <a:fontScheme name="1_gip0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5">
              <a:lumMod val="90000"/>
            </a:schemeClr>
          </a:solidFill>
          <a:prstDash val="solid"/>
          <a:round/>
          <a:headEnd type="none" w="med" len="med"/>
          <a:tailEnd type="triangle"/>
        </a:ln>
        <a:effectLst/>
      </a:spPr>
      <a:bodyPr/>
      <a:lstStyle/>
    </a:lnDef>
  </a:objectDefaults>
  <a:extraClrSchemeLst>
    <a:extraClrScheme>
      <a:clrScheme name="1_gip01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gip01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ip01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ip01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ip01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ip01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ip01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ip01 8">
        <a:dk1>
          <a:srgbClr val="004272"/>
        </a:dk1>
        <a:lt1>
          <a:srgbClr val="FFFFFF"/>
        </a:lt1>
        <a:dk2>
          <a:srgbClr val="004272"/>
        </a:dk2>
        <a:lt2>
          <a:srgbClr val="EEEEEE"/>
        </a:lt2>
        <a:accent1>
          <a:srgbClr val="00B0E6"/>
        </a:accent1>
        <a:accent2>
          <a:srgbClr val="A1A1A1"/>
        </a:accent2>
        <a:accent3>
          <a:srgbClr val="FFFFFF"/>
        </a:accent3>
        <a:accent4>
          <a:srgbClr val="003760"/>
        </a:accent4>
        <a:accent5>
          <a:srgbClr val="AAD4F0"/>
        </a:accent5>
        <a:accent6>
          <a:srgbClr val="919191"/>
        </a:accent6>
        <a:hlink>
          <a:srgbClr val="000000"/>
        </a:hlink>
        <a:folHlink>
          <a:srgbClr val="D9E4E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ip01 9">
        <a:dk1>
          <a:srgbClr val="848484"/>
        </a:dk1>
        <a:lt1>
          <a:srgbClr val="FFFFFF"/>
        </a:lt1>
        <a:dk2>
          <a:srgbClr val="00B0E6"/>
        </a:dk2>
        <a:lt2>
          <a:srgbClr val="EEEEEE"/>
        </a:lt2>
        <a:accent1>
          <a:srgbClr val="004E61"/>
        </a:accent1>
        <a:accent2>
          <a:srgbClr val="A1A1A1"/>
        </a:accent2>
        <a:accent3>
          <a:srgbClr val="FFFFFF"/>
        </a:accent3>
        <a:accent4>
          <a:srgbClr val="707070"/>
        </a:accent4>
        <a:accent5>
          <a:srgbClr val="AAB2B7"/>
        </a:accent5>
        <a:accent6>
          <a:srgbClr val="919191"/>
        </a:accent6>
        <a:hlink>
          <a:srgbClr val="000000"/>
        </a:hlink>
        <a:folHlink>
          <a:srgbClr val="D9E4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7_gip01">
  <a:themeElements>
    <a:clrScheme name="1_gip01 8">
      <a:dk1>
        <a:srgbClr val="004272"/>
      </a:dk1>
      <a:lt1>
        <a:srgbClr val="FFFFFF"/>
      </a:lt1>
      <a:dk2>
        <a:srgbClr val="004272"/>
      </a:dk2>
      <a:lt2>
        <a:srgbClr val="EEEEEE"/>
      </a:lt2>
      <a:accent1>
        <a:srgbClr val="00B0E6"/>
      </a:accent1>
      <a:accent2>
        <a:srgbClr val="A1A1A1"/>
      </a:accent2>
      <a:accent3>
        <a:srgbClr val="FFFFFF"/>
      </a:accent3>
      <a:accent4>
        <a:srgbClr val="003760"/>
      </a:accent4>
      <a:accent5>
        <a:srgbClr val="AAD4F0"/>
      </a:accent5>
      <a:accent6>
        <a:srgbClr val="919191"/>
      </a:accent6>
      <a:hlink>
        <a:srgbClr val="000000"/>
      </a:hlink>
      <a:folHlink>
        <a:srgbClr val="D9E4E7"/>
      </a:folHlink>
    </a:clrScheme>
    <a:fontScheme name="1_gip0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5">
              <a:lumMod val="90000"/>
            </a:schemeClr>
          </a:solidFill>
          <a:prstDash val="solid"/>
          <a:round/>
          <a:headEnd type="none" w="med" len="med"/>
          <a:tailEnd type="triangle"/>
        </a:ln>
        <a:effectLst/>
      </a:spPr>
      <a:bodyPr/>
      <a:lstStyle/>
    </a:lnDef>
  </a:objectDefaults>
  <a:extraClrSchemeLst>
    <a:extraClrScheme>
      <a:clrScheme name="1_gip01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gip01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ip01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ip01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ip01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ip01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ip01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ip01 8">
        <a:dk1>
          <a:srgbClr val="004272"/>
        </a:dk1>
        <a:lt1>
          <a:srgbClr val="FFFFFF"/>
        </a:lt1>
        <a:dk2>
          <a:srgbClr val="004272"/>
        </a:dk2>
        <a:lt2>
          <a:srgbClr val="EEEEEE"/>
        </a:lt2>
        <a:accent1>
          <a:srgbClr val="00B0E6"/>
        </a:accent1>
        <a:accent2>
          <a:srgbClr val="A1A1A1"/>
        </a:accent2>
        <a:accent3>
          <a:srgbClr val="FFFFFF"/>
        </a:accent3>
        <a:accent4>
          <a:srgbClr val="003760"/>
        </a:accent4>
        <a:accent5>
          <a:srgbClr val="AAD4F0"/>
        </a:accent5>
        <a:accent6>
          <a:srgbClr val="919191"/>
        </a:accent6>
        <a:hlink>
          <a:srgbClr val="000000"/>
        </a:hlink>
        <a:folHlink>
          <a:srgbClr val="D9E4E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ip01 9">
        <a:dk1>
          <a:srgbClr val="848484"/>
        </a:dk1>
        <a:lt1>
          <a:srgbClr val="FFFFFF"/>
        </a:lt1>
        <a:dk2>
          <a:srgbClr val="00B0E6"/>
        </a:dk2>
        <a:lt2>
          <a:srgbClr val="EEEEEE"/>
        </a:lt2>
        <a:accent1>
          <a:srgbClr val="004E61"/>
        </a:accent1>
        <a:accent2>
          <a:srgbClr val="A1A1A1"/>
        </a:accent2>
        <a:accent3>
          <a:srgbClr val="FFFFFF"/>
        </a:accent3>
        <a:accent4>
          <a:srgbClr val="707070"/>
        </a:accent4>
        <a:accent5>
          <a:srgbClr val="AAB2B7"/>
        </a:accent5>
        <a:accent6>
          <a:srgbClr val="919191"/>
        </a:accent6>
        <a:hlink>
          <a:srgbClr val="000000"/>
        </a:hlink>
        <a:folHlink>
          <a:srgbClr val="D9E4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Personnalisé 1">
      <a:dk1>
        <a:srgbClr val="000000"/>
      </a:dk1>
      <a:lt1>
        <a:sysClr val="window" lastClr="FFFFFF"/>
      </a:lt1>
      <a:dk2>
        <a:srgbClr val="E85811"/>
      </a:dk2>
      <a:lt2>
        <a:srgbClr val="004588"/>
      </a:lt2>
      <a:accent1>
        <a:srgbClr val="E85811"/>
      </a:accent1>
      <a:accent2>
        <a:srgbClr val="DD2E87"/>
      </a:accent2>
      <a:accent3>
        <a:srgbClr val="904D86"/>
      </a:accent3>
      <a:accent4>
        <a:srgbClr val="8194C1"/>
      </a:accent4>
      <a:accent5>
        <a:srgbClr val="F08600"/>
      </a:accent5>
      <a:accent6>
        <a:srgbClr val="004588"/>
      </a:accent6>
      <a:hlink>
        <a:srgbClr val="C00000"/>
      </a:hlink>
      <a:folHlink>
        <a:srgbClr val="C00000"/>
      </a:folHlink>
    </a:clrScheme>
    <a:fontScheme name="Custom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0_gip01">
  <a:themeElements>
    <a:clrScheme name="1_gip01 8">
      <a:dk1>
        <a:srgbClr val="004272"/>
      </a:dk1>
      <a:lt1>
        <a:srgbClr val="FFFFFF"/>
      </a:lt1>
      <a:dk2>
        <a:srgbClr val="004272"/>
      </a:dk2>
      <a:lt2>
        <a:srgbClr val="EEEEEE"/>
      </a:lt2>
      <a:accent1>
        <a:srgbClr val="00B0E6"/>
      </a:accent1>
      <a:accent2>
        <a:srgbClr val="A1A1A1"/>
      </a:accent2>
      <a:accent3>
        <a:srgbClr val="FFFFFF"/>
      </a:accent3>
      <a:accent4>
        <a:srgbClr val="003760"/>
      </a:accent4>
      <a:accent5>
        <a:srgbClr val="AAD4F0"/>
      </a:accent5>
      <a:accent6>
        <a:srgbClr val="919191"/>
      </a:accent6>
      <a:hlink>
        <a:srgbClr val="000000"/>
      </a:hlink>
      <a:folHlink>
        <a:srgbClr val="D9E4E7"/>
      </a:folHlink>
    </a:clrScheme>
    <a:fontScheme name="1_gip0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5">
              <a:lumMod val="90000"/>
            </a:schemeClr>
          </a:solidFill>
          <a:prstDash val="solid"/>
          <a:round/>
          <a:headEnd type="none" w="med" len="med"/>
          <a:tailEnd type="triangle"/>
        </a:ln>
        <a:effectLst/>
      </a:spPr>
      <a:bodyPr/>
      <a:lstStyle/>
    </a:lnDef>
  </a:objectDefaults>
  <a:extraClrSchemeLst>
    <a:extraClrScheme>
      <a:clrScheme name="1_gip01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gip01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ip01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ip01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ip01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ip01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ip01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ip01 8">
        <a:dk1>
          <a:srgbClr val="004272"/>
        </a:dk1>
        <a:lt1>
          <a:srgbClr val="FFFFFF"/>
        </a:lt1>
        <a:dk2>
          <a:srgbClr val="004272"/>
        </a:dk2>
        <a:lt2>
          <a:srgbClr val="EEEEEE"/>
        </a:lt2>
        <a:accent1>
          <a:srgbClr val="00B0E6"/>
        </a:accent1>
        <a:accent2>
          <a:srgbClr val="A1A1A1"/>
        </a:accent2>
        <a:accent3>
          <a:srgbClr val="FFFFFF"/>
        </a:accent3>
        <a:accent4>
          <a:srgbClr val="003760"/>
        </a:accent4>
        <a:accent5>
          <a:srgbClr val="AAD4F0"/>
        </a:accent5>
        <a:accent6>
          <a:srgbClr val="919191"/>
        </a:accent6>
        <a:hlink>
          <a:srgbClr val="000000"/>
        </a:hlink>
        <a:folHlink>
          <a:srgbClr val="D9E4E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ip01 9">
        <a:dk1>
          <a:srgbClr val="848484"/>
        </a:dk1>
        <a:lt1>
          <a:srgbClr val="FFFFFF"/>
        </a:lt1>
        <a:dk2>
          <a:srgbClr val="00B0E6"/>
        </a:dk2>
        <a:lt2>
          <a:srgbClr val="EEEEEE"/>
        </a:lt2>
        <a:accent1>
          <a:srgbClr val="004E61"/>
        </a:accent1>
        <a:accent2>
          <a:srgbClr val="A1A1A1"/>
        </a:accent2>
        <a:accent3>
          <a:srgbClr val="FFFFFF"/>
        </a:accent3>
        <a:accent4>
          <a:srgbClr val="707070"/>
        </a:accent4>
        <a:accent5>
          <a:srgbClr val="AAB2B7"/>
        </a:accent5>
        <a:accent6>
          <a:srgbClr val="919191"/>
        </a:accent6>
        <a:hlink>
          <a:srgbClr val="000000"/>
        </a:hlink>
        <a:folHlink>
          <a:srgbClr val="D9E4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1_gip01 9">
    <a:dk1>
      <a:srgbClr val="848484"/>
    </a:dk1>
    <a:lt1>
      <a:srgbClr val="FFFFFF"/>
    </a:lt1>
    <a:dk2>
      <a:srgbClr val="00B0E6"/>
    </a:dk2>
    <a:lt2>
      <a:srgbClr val="EEEEEE"/>
    </a:lt2>
    <a:accent1>
      <a:srgbClr val="004E61"/>
    </a:accent1>
    <a:accent2>
      <a:srgbClr val="A1A1A1"/>
    </a:accent2>
    <a:accent3>
      <a:srgbClr val="FFFFFF"/>
    </a:accent3>
    <a:accent4>
      <a:srgbClr val="707070"/>
    </a:accent4>
    <a:accent5>
      <a:srgbClr val="AAB2B7"/>
    </a:accent5>
    <a:accent6>
      <a:srgbClr val="919191"/>
    </a:accent6>
    <a:hlink>
      <a:srgbClr val="000000"/>
    </a:hlink>
    <a:folHlink>
      <a:srgbClr val="D9E4E7"/>
    </a:folHlink>
  </a:clrScheme>
</a:themeOverride>
</file>

<file path=ppt/theme/themeOverride2.xml><?xml version="1.0" encoding="utf-8"?>
<a:themeOverride xmlns:a="http://schemas.openxmlformats.org/drawingml/2006/main">
  <a:clrScheme name="1_gip01 9">
    <a:dk1>
      <a:srgbClr val="848484"/>
    </a:dk1>
    <a:lt1>
      <a:srgbClr val="FFFFFF"/>
    </a:lt1>
    <a:dk2>
      <a:srgbClr val="00B0E6"/>
    </a:dk2>
    <a:lt2>
      <a:srgbClr val="EEEEEE"/>
    </a:lt2>
    <a:accent1>
      <a:srgbClr val="004E61"/>
    </a:accent1>
    <a:accent2>
      <a:srgbClr val="A1A1A1"/>
    </a:accent2>
    <a:accent3>
      <a:srgbClr val="FFFFFF"/>
    </a:accent3>
    <a:accent4>
      <a:srgbClr val="707070"/>
    </a:accent4>
    <a:accent5>
      <a:srgbClr val="AAB2B7"/>
    </a:accent5>
    <a:accent6>
      <a:srgbClr val="919191"/>
    </a:accent6>
    <a:hlink>
      <a:srgbClr val="000000"/>
    </a:hlink>
    <a:folHlink>
      <a:srgbClr val="D9E4E7"/>
    </a:folHlink>
  </a:clrScheme>
</a:themeOverride>
</file>

<file path=ppt/theme/themeOverride3.xml><?xml version="1.0" encoding="utf-8"?>
<a:themeOverride xmlns:a="http://schemas.openxmlformats.org/drawingml/2006/main">
  <a:clrScheme name="1_gip01 9">
    <a:dk1>
      <a:srgbClr val="848484"/>
    </a:dk1>
    <a:lt1>
      <a:srgbClr val="FFFFFF"/>
    </a:lt1>
    <a:dk2>
      <a:srgbClr val="00B0E6"/>
    </a:dk2>
    <a:lt2>
      <a:srgbClr val="EEEEEE"/>
    </a:lt2>
    <a:accent1>
      <a:srgbClr val="004E61"/>
    </a:accent1>
    <a:accent2>
      <a:srgbClr val="A1A1A1"/>
    </a:accent2>
    <a:accent3>
      <a:srgbClr val="FFFFFF"/>
    </a:accent3>
    <a:accent4>
      <a:srgbClr val="707070"/>
    </a:accent4>
    <a:accent5>
      <a:srgbClr val="AAB2B7"/>
    </a:accent5>
    <a:accent6>
      <a:srgbClr val="919191"/>
    </a:accent6>
    <a:hlink>
      <a:srgbClr val="000000"/>
    </a:hlink>
    <a:folHlink>
      <a:srgbClr val="D9E4E7"/>
    </a:folHlink>
  </a:clrScheme>
</a:themeOverride>
</file>

<file path=ppt/theme/themeOverride4.xml><?xml version="1.0" encoding="utf-8"?>
<a:themeOverride xmlns:a="http://schemas.openxmlformats.org/drawingml/2006/main">
  <a:clrScheme name="1_gip01 9">
    <a:dk1>
      <a:srgbClr val="848484"/>
    </a:dk1>
    <a:lt1>
      <a:srgbClr val="FFFFFF"/>
    </a:lt1>
    <a:dk2>
      <a:srgbClr val="00B0E6"/>
    </a:dk2>
    <a:lt2>
      <a:srgbClr val="EEEEEE"/>
    </a:lt2>
    <a:accent1>
      <a:srgbClr val="004E61"/>
    </a:accent1>
    <a:accent2>
      <a:srgbClr val="A1A1A1"/>
    </a:accent2>
    <a:accent3>
      <a:srgbClr val="FFFFFF"/>
    </a:accent3>
    <a:accent4>
      <a:srgbClr val="707070"/>
    </a:accent4>
    <a:accent5>
      <a:srgbClr val="AAB2B7"/>
    </a:accent5>
    <a:accent6>
      <a:srgbClr val="919191"/>
    </a:accent6>
    <a:hlink>
      <a:srgbClr val="000000"/>
    </a:hlink>
    <a:folHlink>
      <a:srgbClr val="D9E4E7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99BDB640D29DB46B876331D62EA4A18" ma:contentTypeVersion="10" ma:contentTypeDescription="Create a new document." ma:contentTypeScope="" ma:versionID="f4186dbaa59af5ada9499f5eeb914a25">
  <xsd:schema xmlns:xsd="http://www.w3.org/2001/XMLSchema" xmlns:xs="http://www.w3.org/2001/XMLSchema" xmlns:p="http://schemas.microsoft.com/office/2006/metadata/properties" xmlns:ns2="c4bdebd3-8b4a-46ba-802e-eb2fdcb34c9d" xmlns:ns3="155aa873-4ba6-4e66-9639-ea07a10ca49a" targetNamespace="http://schemas.microsoft.com/office/2006/metadata/properties" ma:root="true" ma:fieldsID="a4c68eafda51d69973c66650f8811131" ns2:_="" ns3:_="">
    <xsd:import namespace="c4bdebd3-8b4a-46ba-802e-eb2fdcb34c9d"/>
    <xsd:import namespace="155aa873-4ba6-4e66-9639-ea07a10ca49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4bdebd3-8b4a-46ba-802e-eb2fdcb34c9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5aa873-4ba6-4e66-9639-ea07a10ca49a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F48E363-584C-4123-9598-46B2172DE63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7E21696-96CF-4636-968C-7001F85C34C3}">
  <ds:schemaRefs>
    <ds:schemaRef ds:uri="http://schemas.microsoft.com/office/2006/metadata/properties"/>
    <ds:schemaRef ds:uri="http://schemas.microsoft.com/office/2006/documentManagement/types"/>
    <ds:schemaRef ds:uri="http://purl.org/dc/terms/"/>
    <ds:schemaRef ds:uri="http://www.w3.org/XML/1998/namespace"/>
    <ds:schemaRef ds:uri="c4bdebd3-8b4a-46ba-802e-eb2fdcb34c9d"/>
    <ds:schemaRef ds:uri="155aa873-4ba6-4e66-9639-ea07a10ca49a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83AA4D4B-014F-4AA7-98EC-5C563BE11E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4bdebd3-8b4a-46ba-802e-eb2fdcb34c9d"/>
    <ds:schemaRef ds:uri="155aa873-4ba6-4e66-9639-ea07a10ca49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01</TotalTime>
  <Words>1496</Words>
  <Application>Microsoft Office PowerPoint</Application>
  <PresentationFormat>Personnalisé</PresentationFormat>
  <Paragraphs>312</Paragraphs>
  <Slides>26</Slides>
  <Notes>11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5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6</vt:i4>
      </vt:variant>
    </vt:vector>
  </HeadingPairs>
  <TitlesOfParts>
    <vt:vector size="37" baseType="lpstr">
      <vt:lpstr>Arial</vt:lpstr>
      <vt:lpstr>Arial Narrow</vt:lpstr>
      <vt:lpstr>Calibri</vt:lpstr>
      <vt:lpstr>Trebuchet MS</vt:lpstr>
      <vt:lpstr>Wingdings</vt:lpstr>
      <vt:lpstr>1_gip01</vt:lpstr>
      <vt:lpstr>29_gip01</vt:lpstr>
      <vt:lpstr>27_gip01</vt:lpstr>
      <vt:lpstr>Office Theme</vt:lpstr>
      <vt:lpstr>30_gip01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Les publications récentes</vt:lpstr>
      <vt:lpstr>La campagne Rencontres Extra  et Affiches Net-entreprises </vt:lpstr>
      <vt:lpstr>Focus nouveau site du GIP-MDS</vt:lpstr>
      <vt:lpstr>Focus nouveau site du GIP-MDS</vt:lpstr>
      <vt:lpstr>Présentation PowerPoint</vt:lpstr>
      <vt:lpstr>Présentation PowerPoint</vt:lpstr>
      <vt:lpstr>Présentation PowerPoint</vt:lpstr>
      <vt:lpstr>Présentation PowerPoint</vt:lpstr>
      <vt:lpstr>Exemple d’actions réalisées hors crise Covid </vt:lpstr>
      <vt:lpstr>Présentation PowerPoint</vt:lpstr>
      <vt:lpstr>Communiqués diffusés en 2019</vt:lpstr>
      <vt:lpstr>Communiqués diffusés en 2020</vt:lpstr>
      <vt:lpstr>Focus DSN Fonction publique</vt:lpstr>
      <vt:lpstr>Focus DSN Fonction publique</vt:lpstr>
      <vt:lpstr>Focus DSN Fonction publique</vt:lpstr>
      <vt:lpstr>Focus DSN Fonction publique</vt:lpstr>
      <vt:lpstr>Focus AT/MP</vt:lpstr>
      <vt:lpstr>Présentation PowerPoint</vt:lpstr>
      <vt:lpstr>Présentation PowerPoint</vt:lpstr>
      <vt:lpstr>Questions réseaux sociaux</vt:lpstr>
      <vt:lpstr>Sujets de communication à venir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Maggioni, Elena</dc:creator>
  <cp:lastModifiedBy>Frederique LEBON</cp:lastModifiedBy>
  <cp:revision>116</cp:revision>
  <cp:lastPrinted>2019-06-13T07:26:36Z</cp:lastPrinted>
  <dcterms:created xsi:type="dcterms:W3CDTF">2017-09-27T09:07:39Z</dcterms:created>
  <dcterms:modified xsi:type="dcterms:W3CDTF">2020-12-18T10:39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name="ContentTypeId" pid="2">
    <vt:lpwstr>0x010100E99BDB640D29DB46B876331D62EA4A18</vt:lpwstr>
  </property>
  <property fmtid="{D5CDD505-2E9C-101B-9397-08002B2CF9AE}" name="NXPowerLiteLastOptimized" pid="3">
    <vt:lpwstr>1665369</vt:lpwstr>
  </property>
  <property fmtid="{D5CDD505-2E9C-101B-9397-08002B2CF9AE}" name="NXPowerLiteSettings" pid="4">
    <vt:lpwstr>C7000400038000</vt:lpwstr>
  </property>
  <property fmtid="{D5CDD505-2E9C-101B-9397-08002B2CF9AE}" name="NXPowerLiteVersion" pid="5">
    <vt:lpwstr>S9.0.3</vt:lpwstr>
  </property>
</Properties>
</file>